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ustom.xml" ContentType="application/vnd.openxmlformats-officedocument.custom-properties+xml"/>
  <Override PartName="/docProps/core.xml" ContentType="application/vnd.openxmlformats-package.core-properties+xml"/>
  <Override PartName="/docProps/app.xml" ContentType="application/vnd.openxmlformats-officedocument.extended-propertie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33" r:id="rId1"/>
    <p:sldMasterId id="2147483886" r:id="rId2"/>
    <p:sldMasterId id="2147483942" r:id="rId3"/>
    <p:sldMasterId id="2147483948" r:id="rId4"/>
    <p:sldMasterId id="2147483957" r:id="rId5"/>
    <p:sldMasterId id="2147484056" r:id="rId6"/>
    <p:sldMasterId id="2147484100" r:id="rId7"/>
  </p:sldMasterIdLst>
  <p:notesMasterIdLst>
    <p:notesMasterId r:id="rId18"/>
  </p:notesMasterIdLst>
  <p:handoutMasterIdLst>
    <p:handoutMasterId r:id="rId19"/>
  </p:handoutMasterIdLst>
  <p:sldIdLst>
    <p:sldId id="256" r:id="rId8"/>
    <p:sldId id="2142533395" r:id="rId9"/>
    <p:sldId id="2147308516" r:id="rId10"/>
    <p:sldId id="2147308509" r:id="rId11"/>
    <p:sldId id="2147308510" r:id="rId12"/>
    <p:sldId id="2147308519" r:id="rId13"/>
    <p:sldId id="2147308511" r:id="rId14"/>
    <p:sldId id="2147308517" r:id="rId15"/>
    <p:sldId id="2147308518" r:id="rId16"/>
    <p:sldId id="2145704904"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45979F2-D72C-4CC0-9F52-A539963057AA}">
          <p14:sldIdLst>
            <p14:sldId id="256"/>
            <p14:sldId id="2142533395"/>
            <p14:sldId id="2147308516"/>
            <p14:sldId id="2147308509"/>
            <p14:sldId id="2147308510"/>
            <p14:sldId id="2147308519"/>
            <p14:sldId id="2147308511"/>
            <p14:sldId id="2147308517"/>
            <p14:sldId id="2147308518"/>
            <p14:sldId id="214570490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0DCFF"/>
    <a:srgbClr val="007CB0"/>
    <a:srgbClr val="43B02A"/>
    <a:srgbClr val="046A38"/>
    <a:srgbClr val="0D8390"/>
    <a:srgbClr val="F8F8F8"/>
    <a:srgbClr val="CCFFFF"/>
    <a:srgbClr val="002060"/>
    <a:srgbClr val="FFFFCC"/>
    <a:srgbClr val="FFE3B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6224" autoAdjust="0"/>
  </p:normalViewPr>
  <p:slideViewPr>
    <p:cSldViewPr snapToGrid="0">
      <p:cViewPr varScale="1">
        <p:scale>
          <a:sx n="62" d="100"/>
          <a:sy n="62" d="100"/>
        </p:scale>
        <p:origin x="804" y="5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26" Type="http://schemas.openxmlformats.org/officeDocument/2006/relationships/customXml" Target="../customXml/item2.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customXml" Target="../customXml/item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theme" Target="theme/theme1.xml"/><Relationship Id="rId28" Type="http://schemas.openxmlformats.org/officeDocument/2006/relationships/customXml" Target="../customXml/item4.xml"/><Relationship Id="rId10" Type="http://schemas.openxmlformats.org/officeDocument/2006/relationships/slide" Target="slides/slide3.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viewProps" Target="viewProps.xml"/><Relationship Id="rId27"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53EEADE-084D-EF46-9E06-49157D51E4F3}" type="datetimeFigureOut">
              <a:rPr lang="en-US" smtClean="0"/>
              <a:t>12/20/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425D719-9150-F743-805E-17E4DF1A376C}" type="slidenum">
              <a:rPr lang="en-US" smtClean="0"/>
              <a:t>‹#›</a:t>
            </a:fld>
            <a:endParaRPr lang="en-US"/>
          </a:p>
        </p:txBody>
      </p:sp>
    </p:spTree>
    <p:extLst>
      <p:ext uri="{BB962C8B-B14F-4D97-AF65-F5344CB8AC3E}">
        <p14:creationId xmlns:p14="http://schemas.microsoft.com/office/powerpoint/2010/main" val="3343850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E03A04-0626-44D4-B6D6-43B9D98023FD}" type="datetimeFigureOut">
              <a:rPr lang="en-US" smtClean="0"/>
              <a:t>12/2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A34052-12FB-4B01-8A2E-D87AD7371E95}" type="slidenum">
              <a:rPr lang="en-US" smtClean="0"/>
              <a:t>‹#›</a:t>
            </a:fld>
            <a:endParaRPr lang="en-US"/>
          </a:p>
        </p:txBody>
      </p:sp>
    </p:spTree>
    <p:extLst>
      <p:ext uri="{BB962C8B-B14F-4D97-AF65-F5344CB8AC3E}">
        <p14:creationId xmlns:p14="http://schemas.microsoft.com/office/powerpoint/2010/main" val="490210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931932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327875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94670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77177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6365D6-AA63-3047-A4C2-A4044CEFE915}" type="slidenum">
              <a:rPr kumimoji="0" lang="en-US" sz="12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30108303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292972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933680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225746586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55671255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1643158655"/>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26377964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28537339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7259811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11" name="CaseCode">
            <a:extLst>
              <a:ext uri="{FF2B5EF4-FFF2-40B4-BE49-F238E27FC236}">
                <a16:creationId xmlns:a16="http://schemas.microsoft.com/office/drawing/2014/main" id="{676B7924-6A82-4453-9ABA-42AE71384BDC}"/>
              </a:ext>
            </a:extLst>
          </p:cNvPr>
          <p:cNvSpPr txBox="1"/>
          <p:nvPr userDrawn="1"/>
        </p:nvSpPr>
        <p:spPr>
          <a:xfrm>
            <a:off x="6335184" y="647700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a:t>
            </a:r>
            <a:r>
              <a:rPr lang="en-US" sz="675" noProof="0" err="1">
                <a:solidFill>
                  <a:schemeClr val="bg1"/>
                </a:solidFill>
                <a:latin typeface="Calibri" panose="020F0502020204030204" pitchFamily="34" charset="0"/>
                <a:cs typeface="Calibri" panose="020F0502020204030204" pitchFamily="34" charset="0"/>
              </a:rPr>
              <a:t>Mster</a:t>
            </a:r>
            <a:r>
              <a:rPr lang="en-US" sz="675" noProof="0">
                <a:solidFill>
                  <a:schemeClr val="bg1"/>
                </a:solidFill>
                <a:latin typeface="Calibri" panose="020F0502020204030204" pitchFamily="34" charset="0"/>
                <a:cs typeface="Calibri" panose="020F0502020204030204" pitchFamily="34" charset="0"/>
              </a:rPr>
              <a:t> &gt; Slide Master]</a:t>
            </a: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1673112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398248470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8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normAutofit/>
          </a:bodyPr>
          <a:lstStyle>
            <a:lvl1pPr algn="ctr">
              <a:defRPr sz="800"/>
            </a:lvl1pPr>
          </a:lstStyle>
          <a:p>
            <a:r>
              <a:rPr lang="en-GB" sz="675"/>
              <a:t>Insert sponsorship mark here</a:t>
            </a:r>
            <a:endParaRPr lang="en-GB"/>
          </a:p>
        </p:txBody>
      </p:sp>
      <p:sp>
        <p:nvSpPr>
          <p:cNvPr id="8" name="Text Placeholder 7"/>
          <p:cNvSpPr>
            <a:spLocks noGrp="1"/>
          </p:cNvSpPr>
          <p:nvPr>
            <p:ph type="body" sz="quarter" idx="15"/>
          </p:nvPr>
        </p:nvSpPr>
        <p:spPr>
          <a:xfrm>
            <a:off x="9406187" y="5995943"/>
            <a:ext cx="2319501" cy="363722"/>
          </a:xfrm>
        </p:spPr>
        <p:txBody>
          <a:bodyPr anchor="b" anchorCtr="0">
            <a:normAutofit/>
          </a:bodyPr>
          <a:lstStyle>
            <a:lvl1pPr>
              <a:lnSpc>
                <a:spcPct val="100000"/>
              </a:lnSpc>
              <a:defRPr sz="80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40301224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1684117093"/>
      </p:ext>
    </p:extLst>
  </p:cSld>
  <p:clrMapOvr>
    <a:masterClrMapping/>
  </p:clrMapOvr>
  <p:hf hdr="0" dt="0"/>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382051894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353711934"/>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962505117"/>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309179229"/>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cxnSp>
        <p:nvCxnSpPr>
          <p:cNvPr id="5" name="Straight Connector 4">
            <a:extLst>
              <a:ext uri="{FF2B5EF4-FFF2-40B4-BE49-F238E27FC236}">
                <a16:creationId xmlns:a16="http://schemas.microsoft.com/office/drawing/2014/main" id="{CB5451A9-3E6A-4737-92D0-C9DAA534DA04}"/>
              </a:ext>
            </a:extLst>
          </p:cNvPr>
          <p:cNvCxnSpPr/>
          <p:nvPr userDrawn="1"/>
        </p:nvCxnSpPr>
        <p:spPr>
          <a:xfrm flipV="1">
            <a:off x="0" y="0"/>
            <a:ext cx="12192000" cy="685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A2ADDA35-0590-4771-9879-88CE0238551F}"/>
              </a:ext>
            </a:extLst>
          </p:cNvPr>
          <p:cNvGrpSpPr/>
          <p:nvPr userDrawn="1"/>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5" name="Freeform 11">
              <a:extLst>
                <a:ext uri="{FF2B5EF4-FFF2-40B4-BE49-F238E27FC236}">
                  <a16:creationId xmlns:a16="http://schemas.microsoft.com/office/drawing/2014/main" id="{90C5C28F-BB95-44AD-9700-55D9AE2BE2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6" name="Freeform 12">
              <a:extLst>
                <a:ext uri="{FF2B5EF4-FFF2-40B4-BE49-F238E27FC236}">
                  <a16:creationId xmlns:a16="http://schemas.microsoft.com/office/drawing/2014/main" id="{42500885-66FF-4752-A3E1-7C0FA9778A8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651146197"/>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335227588"/>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4001"/>
            <a:ext cx="11271504"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1532"/>
            <a:ext cx="11271504"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398625712"/>
      </p:ext>
    </p:extLst>
  </p:cSld>
  <p:clrMapOvr>
    <a:masterClrMapping/>
  </p:clrMapOvr>
  <p:transition>
    <p:fade/>
  </p:transition>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6936"/>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opyright">
            <a:extLst>
              <a:ext uri="{FF2B5EF4-FFF2-40B4-BE49-F238E27FC236}">
                <a16:creationId xmlns:a16="http://schemas.microsoft.com/office/drawing/2014/main" id="{CA24B28E-5B13-4779-8D72-C52A20B99FE7}"/>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CaseCode">
            <a:extLst>
              <a:ext uri="{FF2B5EF4-FFF2-40B4-BE49-F238E27FC236}">
                <a16:creationId xmlns:a16="http://schemas.microsoft.com/office/drawing/2014/main" id="{D39A514A-409D-470C-AE9C-EFB16BDA8C83}"/>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TextBox 13">
            <a:extLst>
              <a:ext uri="{FF2B5EF4-FFF2-40B4-BE49-F238E27FC236}">
                <a16:creationId xmlns:a16="http://schemas.microsoft.com/office/drawing/2014/main" id="{72A5EC33-1574-4E3A-89DA-3EC00A69C870}"/>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72571313"/>
      </p:ext>
    </p:extLst>
  </p:cSld>
  <p:clrMapOvr>
    <a:masterClrMapping/>
  </p:clrMapOvr>
  <p:transition>
    <p:fade/>
  </p:transition>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8217"/>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3" name="Copyright">
            <a:extLst>
              <a:ext uri="{FF2B5EF4-FFF2-40B4-BE49-F238E27FC236}">
                <a16:creationId xmlns:a16="http://schemas.microsoft.com/office/drawing/2014/main" id="{1DC4A35C-6E5F-4D1C-8973-1C29CBAF765E}"/>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CaseCode">
            <a:extLst>
              <a:ext uri="{FF2B5EF4-FFF2-40B4-BE49-F238E27FC236}">
                <a16:creationId xmlns:a16="http://schemas.microsoft.com/office/drawing/2014/main" id="{5B6818A1-3235-4413-9665-6D922B35C666}"/>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TextBox 14">
            <a:extLst>
              <a:ext uri="{FF2B5EF4-FFF2-40B4-BE49-F238E27FC236}">
                <a16:creationId xmlns:a16="http://schemas.microsoft.com/office/drawing/2014/main" id="{CA87CE22-99C8-4AA1-B80A-420B68B7E283}"/>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94597759"/>
      </p:ext>
    </p:extLst>
  </p:cSld>
  <p:clrMapOvr>
    <a:masterClrMapping/>
  </p:clrMapOvr>
  <p:transition>
    <p:fade/>
  </p:transition>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04AF6108-47E9-489A-A28A-88A6C754FB38}"/>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8980A458-ABD9-40B8-8C0D-269072CDB94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071386E3-7822-4155-91DC-3E38D96ED6CE}"/>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10360205"/>
      </p:ext>
    </p:extLst>
  </p:cSld>
  <p:clrMapOvr>
    <a:masterClrMapping/>
  </p:clrMapOvr>
  <p:transition>
    <p:fade/>
  </p:transition>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484F29FA-0A46-4792-A45E-5DE1B223E09B}"/>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12BDD3ED-029E-4AC9-80CA-D3A2FBE9A5A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A6895299-9295-492F-8C31-9744F3FB7A06}"/>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48113735"/>
      </p:ext>
    </p:extLst>
  </p:cSld>
  <p:clrMapOvr>
    <a:masterClrMapping/>
  </p:clrMapOvr>
  <p:transition>
    <p:fade/>
  </p:transition>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opyright">
            <a:extLst>
              <a:ext uri="{FF2B5EF4-FFF2-40B4-BE49-F238E27FC236}">
                <a16:creationId xmlns:a16="http://schemas.microsoft.com/office/drawing/2014/main" id="{EC93E963-CFD3-43A9-AE1B-F08B522B4130}"/>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aseCode">
            <a:extLst>
              <a:ext uri="{FF2B5EF4-FFF2-40B4-BE49-F238E27FC236}">
                <a16:creationId xmlns:a16="http://schemas.microsoft.com/office/drawing/2014/main" id="{791BE9BD-85F6-497E-A8D6-CBFF87927B15}"/>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AB538D13-8CB9-4EE1-BCA9-24557BC4F2B2}"/>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23380945"/>
      </p:ext>
    </p:extLst>
  </p:cSld>
  <p:clrMapOvr>
    <a:masterClrMapping/>
  </p:clrMapOvr>
  <p:transition>
    <p:fade/>
  </p:transition>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3297" y="1714500"/>
            <a:ext cx="9323916"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08E5BA7E-93C2-43A2-9267-44AEA65B95C5}"/>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015C4658-A753-4EFC-B4C9-8CC1413F742B}"/>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DEC3538D-DEF3-427C-A22B-D6DED4B4F939}"/>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6100763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cxnSp>
        <p:nvCxnSpPr>
          <p:cNvPr id="5" name="Straight Connector 4">
            <a:extLst>
              <a:ext uri="{FF2B5EF4-FFF2-40B4-BE49-F238E27FC236}">
                <a16:creationId xmlns:a16="http://schemas.microsoft.com/office/drawing/2014/main" id="{CB5451A9-3E6A-4737-92D0-C9DAA534DA04}"/>
              </a:ext>
            </a:extLst>
          </p:cNvPr>
          <p:cNvCxnSpPr/>
          <p:nvPr userDrawn="1"/>
        </p:nvCxnSpPr>
        <p:spPr>
          <a:xfrm flipV="1">
            <a:off x="0" y="0"/>
            <a:ext cx="12192000" cy="685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A2ADDA35-0590-4771-9879-88CE0238551F}"/>
              </a:ext>
            </a:extLst>
          </p:cNvPr>
          <p:cNvGrpSpPr/>
          <p:nvPr userDrawn="1"/>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5" name="Freeform 11">
              <a:extLst>
                <a:ext uri="{FF2B5EF4-FFF2-40B4-BE49-F238E27FC236}">
                  <a16:creationId xmlns:a16="http://schemas.microsoft.com/office/drawing/2014/main" id="{90C5C28F-BB95-44AD-9700-55D9AE2BE2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6" name="Freeform 12">
              <a:extLst>
                <a:ext uri="{FF2B5EF4-FFF2-40B4-BE49-F238E27FC236}">
                  <a16:creationId xmlns:a16="http://schemas.microsoft.com/office/drawing/2014/main" id="{42500885-66FF-4752-A3E1-7C0FA9778A8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3862697357"/>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42B478C9-B5DA-40CF-85B5-B8255333DF5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13465439-7954-4F6D-A5BA-2445764B064C}"/>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5B993EBE-E0B6-4868-AEFF-D7DAD2DDC7E4}"/>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845777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D9D178A5-CCC4-4A46-8C47-9A140D4A5CA1}"/>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70B3F7DA-818B-4D8B-B857-2D625878F36E}"/>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4106B75E-593B-4DBE-A922-1C55C945A5EC}"/>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0380634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8A445E98-0101-4641-B761-F6EC62A4C1F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8E6546D8-000E-40B0-BE69-23BCCEC818E9}"/>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C7761B44-F344-440B-8939-9E878C81D0CA}"/>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43094829"/>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1475786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sz="120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63296" y="347473"/>
            <a:ext cx="11277600"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381280404"/>
      </p:ext>
    </p:extLst>
  </p:cSld>
  <p:clrMapOvr>
    <a:masterClrMapping/>
  </p:clrMapOvr>
  <p:transition>
    <p:fade/>
  </p:transition>
  <p:hf hdr="0" dt="0"/>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3296" y="1714500"/>
            <a:ext cx="9341104" cy="4648200"/>
          </a:xfrm>
          <a:prstGeom prst="rect">
            <a:avLst/>
          </a:prstGeom>
        </p:spPr>
        <p:txBody>
          <a:bodyPr>
            <a:noAutofit/>
          </a:bodyPr>
          <a:lstStyle>
            <a:lvl1pPr marL="0" indent="0" algn="l">
              <a:buFontTx/>
              <a:buNone/>
              <a:tabLst>
                <a:tab pos="5047060" algn="r"/>
              </a:tabLst>
              <a:defRPr sz="1200">
                <a:latin typeface="+mn-lt"/>
              </a:defRPr>
            </a:lvl1pPr>
            <a:lvl2pPr marL="104775" indent="-104775" algn="l">
              <a:buClrTx/>
              <a:buSzPct val="100000"/>
              <a:buFont typeface="Arial" panose="020B0604020202020204" pitchFamily="34" charset="0"/>
              <a:buChar char="•"/>
              <a:tabLst>
                <a:tab pos="5047060" algn="r"/>
              </a:tabLst>
              <a:defRPr sz="1200">
                <a:latin typeface="+mj-lt"/>
              </a:defRPr>
            </a:lvl2pPr>
            <a:lvl3pPr marL="228600" indent="-104775" algn="l">
              <a:buClrTx/>
              <a:buSzPct val="100000"/>
              <a:buFont typeface="Arial" panose="020B0604020202020204" pitchFamily="34" charset="0"/>
              <a:buChar char="−"/>
              <a:tabLst>
                <a:tab pos="5047060" algn="r"/>
              </a:tabLst>
              <a:defRPr sz="1200">
                <a:latin typeface="+mn-lt"/>
              </a:defRPr>
            </a:lvl3pPr>
            <a:lvl4pPr marL="352425" indent="-104775" algn="l">
              <a:buClrTx/>
              <a:buSzPct val="100000"/>
              <a:buFont typeface="Arial" panose="020B0604020202020204" pitchFamily="34" charset="0"/>
              <a:buChar char="◦"/>
              <a:tabLst>
                <a:tab pos="504706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463296" y="347473"/>
            <a:ext cx="11180232"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359381570"/>
      </p:ext>
    </p:extLst>
  </p:cSld>
  <p:clrMapOvr>
    <a:masterClrMapping/>
  </p:clrMapOvr>
  <p:transition>
    <p:fade/>
  </p:transition>
  <p:hf hdr="0" dt="0"/>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933144" y="345584"/>
            <a:ext cx="2804160" cy="1027760"/>
          </a:xfrm>
        </p:spPr>
        <p:txBody>
          <a:bodyPr>
            <a:noAutofit/>
          </a:bodyPr>
          <a:lstStyle>
            <a:lvl1pPr>
              <a:spcBef>
                <a:spcPts val="139"/>
              </a:spcBef>
              <a:defRPr sz="8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63296" y="1714500"/>
            <a:ext cx="3549904" cy="4648200"/>
          </a:xfrm>
        </p:spPr>
        <p:txBody>
          <a:bodyPr>
            <a:noAutofit/>
          </a:bodyPr>
          <a:lstStyle>
            <a:lvl1pPr>
              <a:spcBef>
                <a:spcPts val="0"/>
              </a:spcBef>
              <a:spcAft>
                <a:spcPts val="416"/>
              </a:spcAft>
              <a:defRPr sz="12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4318000" y="1719073"/>
            <a:ext cx="7416801" cy="4643628"/>
          </a:xfrm>
        </p:spPr>
        <p:txBody>
          <a:bodyPr>
            <a:noAutofit/>
          </a:bodyPr>
          <a:lstStyle>
            <a:lvl1pPr marL="0" indent="0" algn="l">
              <a:spcBef>
                <a:spcPts val="1247"/>
              </a:spcBef>
              <a:buFontTx/>
              <a:buNone/>
              <a:defRPr sz="1200"/>
            </a:lvl1pPr>
            <a:lvl2pPr marL="104775" indent="-104775" algn="l">
              <a:buClrTx/>
              <a:buSzPct val="100000"/>
              <a:buFont typeface="Arial" panose="020B0604020202020204" pitchFamily="34" charset="0"/>
              <a:buChar char="•"/>
              <a:defRPr sz="1200"/>
            </a:lvl2pPr>
            <a:lvl3pPr marL="228600" indent="-104775" algn="l">
              <a:buClrTx/>
              <a:buSzPct val="100000"/>
              <a:buFont typeface="Arial" panose="020B0604020202020204" pitchFamily="34" charset="0"/>
              <a:buChar char="−"/>
              <a:defRPr sz="1200"/>
            </a:lvl3pPr>
            <a:lvl4pPr marL="352425" indent="-104775" algn="l">
              <a:buClrTx/>
              <a:buSzPct val="100000"/>
              <a:buFont typeface="Arial" panose="020B0604020202020204" pitchFamily="34" charset="0"/>
              <a:buChar char="◦"/>
              <a:defRPr sz="1200"/>
            </a:lvl4pPr>
            <a:lvl5pPr marL="476250" indent="-104775" algn="l">
              <a:buClrTx/>
              <a:buSzPct val="10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8D879EE2-D803-4CB2-AF00-F24E09224D10}"/>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7" name="Oval 5">
              <a:extLst>
                <a:ext uri="{FF2B5EF4-FFF2-40B4-BE49-F238E27FC236}">
                  <a16:creationId xmlns:a16="http://schemas.microsoft.com/office/drawing/2014/main" id="{D45CA835-378D-4289-9657-CD3C1D61435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8" name="Freeform 6">
              <a:extLst>
                <a:ext uri="{FF2B5EF4-FFF2-40B4-BE49-F238E27FC236}">
                  <a16:creationId xmlns:a16="http://schemas.microsoft.com/office/drawing/2014/main" id="{D3810899-A11C-413B-8CBC-D3CFBE3CD80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Rectangle 7">
              <a:extLst>
                <a:ext uri="{FF2B5EF4-FFF2-40B4-BE49-F238E27FC236}">
                  <a16:creationId xmlns:a16="http://schemas.microsoft.com/office/drawing/2014/main" id="{A104677E-C9A9-43FD-9636-282AA4967CC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8">
              <a:extLst>
                <a:ext uri="{FF2B5EF4-FFF2-40B4-BE49-F238E27FC236}">
                  <a16:creationId xmlns:a16="http://schemas.microsoft.com/office/drawing/2014/main" id="{33CAB285-FAC0-4F34-8146-267CBA1B5D9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9">
              <a:extLst>
                <a:ext uri="{FF2B5EF4-FFF2-40B4-BE49-F238E27FC236}">
                  <a16:creationId xmlns:a16="http://schemas.microsoft.com/office/drawing/2014/main" id="{16082ED9-88C5-4736-942C-C7E3CCCA1BE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Rectangle 10">
              <a:extLst>
                <a:ext uri="{FF2B5EF4-FFF2-40B4-BE49-F238E27FC236}">
                  <a16:creationId xmlns:a16="http://schemas.microsoft.com/office/drawing/2014/main" id="{E1E6C516-6C1B-4A02-BB05-4F831D78ECF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Freeform 11">
              <a:extLst>
                <a:ext uri="{FF2B5EF4-FFF2-40B4-BE49-F238E27FC236}">
                  <a16:creationId xmlns:a16="http://schemas.microsoft.com/office/drawing/2014/main" id="{DA6EFC15-17CF-407E-9776-DF518801DE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12">
              <a:extLst>
                <a:ext uri="{FF2B5EF4-FFF2-40B4-BE49-F238E27FC236}">
                  <a16:creationId xmlns:a16="http://schemas.microsoft.com/office/drawing/2014/main" id="{032EBC75-0AB2-4438-90A3-70694DE0F42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3">
              <a:extLst>
                <a:ext uri="{FF2B5EF4-FFF2-40B4-BE49-F238E27FC236}">
                  <a16:creationId xmlns:a16="http://schemas.microsoft.com/office/drawing/2014/main" id="{FC22A38A-F53A-4006-98CB-F2CD2E27610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4">
              <a:extLst>
                <a:ext uri="{FF2B5EF4-FFF2-40B4-BE49-F238E27FC236}">
                  <a16:creationId xmlns:a16="http://schemas.microsoft.com/office/drawing/2014/main" id="{69265903-DE87-4699-A08F-FA3C1B52FB3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2359935018"/>
      </p:ext>
    </p:extLst>
  </p:cSld>
  <p:clrMapOvr>
    <a:masterClrMapping/>
  </p:clrMapOvr>
  <p:transition>
    <p:fade/>
  </p:transition>
  <p:hf hdr="0" dt="0"/>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63295" y="347472"/>
            <a:ext cx="11228832" cy="698500"/>
          </a:xfrm>
          <a:prstGeom prst="rect">
            <a:avLst/>
          </a:prstGeom>
        </p:spPr>
        <p:txBody>
          <a:bodyPr vert="horz" lIns="0" tIns="0" rIns="0" bIns="0" rtlCol="0" anchor="t" anchorCtr="0">
            <a:noAutofit/>
          </a:bodyPr>
          <a:lstStyle>
            <a:lvl1pPr>
              <a:defRPr sz="2100"/>
            </a:lvl1pPr>
          </a:lstStyle>
          <a:p>
            <a:r>
              <a:rPr lang="en-US" noProof="0"/>
              <a:t>Click to add title</a:t>
            </a:r>
          </a:p>
        </p:txBody>
      </p:sp>
      <p:sp>
        <p:nvSpPr>
          <p:cNvPr id="5" name="Picture Placeholder 9"/>
          <p:cNvSpPr>
            <a:spLocks noGrp="1"/>
          </p:cNvSpPr>
          <p:nvPr>
            <p:ph type="pic" sz="quarter" idx="15"/>
          </p:nvPr>
        </p:nvSpPr>
        <p:spPr>
          <a:xfrm>
            <a:off x="5450351" y="1714500"/>
            <a:ext cx="6240000" cy="4648200"/>
          </a:xfrm>
        </p:spPr>
        <p:txBody>
          <a:bodyPr>
            <a:noAutofit/>
          </a:bodyPr>
          <a:lstStyle>
            <a:lvl1pPr>
              <a:defRPr sz="1200"/>
            </a:lvl1pPr>
          </a:lstStyle>
          <a:p>
            <a:r>
              <a:rPr lang="en-US" noProof="0"/>
              <a:t>Click icon to add picture</a:t>
            </a:r>
          </a:p>
        </p:txBody>
      </p:sp>
      <p:sp>
        <p:nvSpPr>
          <p:cNvPr id="6" name="Content Placeholder 3"/>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99024238"/>
      </p:ext>
    </p:extLst>
  </p:cSld>
  <p:clrMapOvr>
    <a:masterClrMapping/>
  </p:clrMapOvr>
  <p:transition>
    <p:fade/>
  </p:transition>
  <p:hf hdr="0" dt="0"/>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248404" y="1719072"/>
            <a:ext cx="5486397"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14199554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7582681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288432639"/>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Chart Placeholder 3"/>
          <p:cNvSpPr>
            <a:spLocks noGrp="1"/>
          </p:cNvSpPr>
          <p:nvPr>
            <p:ph type="chart" sz="quarter" idx="15"/>
          </p:nvPr>
        </p:nvSpPr>
        <p:spPr>
          <a:xfrm>
            <a:off x="463296" y="2078281"/>
            <a:ext cx="11271504" cy="4042735"/>
          </a:xfrm>
          <a:prstGeom prst="rect">
            <a:avLst/>
          </a:prstGeom>
        </p:spPr>
        <p:txBody>
          <a:bodyPr>
            <a:noAutofit/>
          </a:bodyPr>
          <a:lstStyle>
            <a:lvl1pPr>
              <a:defRPr sz="1200"/>
            </a:lvl1pPr>
          </a:lstStyle>
          <a:p>
            <a:r>
              <a:rPr lang="en-US"/>
              <a:t>Click icon to add chart</a:t>
            </a:r>
            <a:endParaRPr lang="en-GB"/>
          </a:p>
        </p:txBody>
      </p:sp>
      <p:sp>
        <p:nvSpPr>
          <p:cNvPr id="18" name="Text Placeholder 8"/>
          <p:cNvSpPr>
            <a:spLocks noGrp="1"/>
          </p:cNvSpPr>
          <p:nvPr>
            <p:ph type="body" sz="quarter" idx="18"/>
          </p:nvPr>
        </p:nvSpPr>
        <p:spPr>
          <a:xfrm>
            <a:off x="463296" y="1717263"/>
            <a:ext cx="11271504" cy="357187"/>
          </a:xfrm>
        </p:spPr>
        <p:txBody>
          <a:bodyPr>
            <a:noAutofit/>
          </a:bodyPr>
          <a:lstStyle>
            <a:lvl1pPr>
              <a:defRPr sz="1200"/>
            </a:lvl1pPr>
          </a:lstStyle>
          <a:p>
            <a:pPr lvl="0"/>
            <a:r>
              <a:rPr lang="en-US" noProof="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0706641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200"/>
            </a:lvl1pPr>
          </a:lstStyle>
          <a:p>
            <a:r>
              <a:rPr lang="en-US" noProof="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8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32844795"/>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200"/>
            </a:lvl1pPr>
          </a:lstStyle>
          <a:p>
            <a:r>
              <a:rPr lang="en-US"/>
              <a:t>Click icon to add chart</a:t>
            </a:r>
            <a:endParaRPr lang="en-GB"/>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2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200"/>
            </a:lvl1pPr>
          </a:lstStyle>
          <a:p>
            <a:r>
              <a:rPr lang="en-US"/>
              <a:t>Click icon to add chart</a:t>
            </a:r>
            <a:endParaRPr lang="en-GB"/>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513689137"/>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56186059"/>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83423576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200"/>
            </a:lvl1pPr>
          </a:lstStyle>
          <a:p>
            <a:r>
              <a:rPr lang="en-US" noProof="0"/>
              <a:t>Click icon to add chart</a:t>
            </a:r>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2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200"/>
            </a:lvl1pPr>
          </a:lstStyle>
          <a:p>
            <a:r>
              <a:rPr lang="en-US" noProof="0"/>
              <a:t>Click icon to add chart</a:t>
            </a:r>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2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200"/>
            </a:lvl1pPr>
          </a:lstStyle>
          <a:p>
            <a:r>
              <a:rPr lang="en-US" noProof="0"/>
              <a:t>Click icon to add chart</a:t>
            </a:r>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2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81894311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lvl1pPr>
              <a:defRPr sz="1200"/>
            </a:lvl1pPr>
          </a:lstStyle>
          <a:p>
            <a:r>
              <a:rPr lang="en-US" noProof="0"/>
              <a:t>Click icon to add picture</a:t>
            </a:r>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lvl1pPr>
              <a:defRPr sz="1200"/>
            </a:lvl1pPr>
          </a:lstStyle>
          <a:p>
            <a:r>
              <a:rPr lang="en-US" noProof="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lvl1pPr>
              <a:defRPr sz="1200"/>
            </a:lvl1pPr>
          </a:lstStyle>
          <a:p>
            <a:r>
              <a:rPr lang="en-US" noProof="0"/>
              <a:t>Click icon to add picture</a:t>
            </a:r>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lvl1pPr>
              <a:defRPr sz="1200"/>
            </a:lvl1pPr>
          </a:lstStyle>
          <a:p>
            <a:r>
              <a:rPr lang="en-US" noProof="0"/>
              <a:t>Click icon to add picture</a:t>
            </a:r>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51787184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76861083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38746544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7262381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4001"/>
            <a:ext cx="11271504"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1532"/>
            <a:ext cx="11271504"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427287162"/>
      </p:ext>
    </p:extLst>
  </p:cSld>
  <p:clrMapOvr>
    <a:masterClrMapping/>
  </p:clrMapOvr>
  <p:transition>
    <p:fade/>
  </p:transition>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itle &amp; subtitle">
    <p:bg>
      <p:bgRef idx="1001">
        <a:schemeClr val="bg1"/>
      </p:bgRef>
    </p:bg>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Tree>
    <p:extLst>
      <p:ext uri="{BB962C8B-B14F-4D97-AF65-F5344CB8AC3E}">
        <p14:creationId xmlns:p14="http://schemas.microsoft.com/office/powerpoint/2010/main" val="12626090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0000"/>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3" name="CaseCode">
            <a:extLst>
              <a:ext uri="{FF2B5EF4-FFF2-40B4-BE49-F238E27FC236}">
                <a16:creationId xmlns:a16="http://schemas.microsoft.com/office/drawing/2014/main" id="{1F38FEB2-16BD-4957-9E74-380998108783}"/>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AI Strategic Growth Offering</a:t>
            </a:r>
          </a:p>
        </p:txBody>
      </p:sp>
      <p:sp>
        <p:nvSpPr>
          <p:cNvPr id="4" name="Copyright">
            <a:extLst>
              <a:ext uri="{FF2B5EF4-FFF2-40B4-BE49-F238E27FC236}">
                <a16:creationId xmlns:a16="http://schemas.microsoft.com/office/drawing/2014/main" id="{967631AF-4BE3-4B97-9C8A-5E12F3EC59D2}"/>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6" name="TextBox 5">
            <a:extLst>
              <a:ext uri="{FF2B5EF4-FFF2-40B4-BE49-F238E27FC236}">
                <a16:creationId xmlns:a16="http://schemas.microsoft.com/office/drawing/2014/main" id="{F6B86F14-FE91-4EB4-A7F8-8C6FF7604C6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9593224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69999918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88303922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39411329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3749594339"/>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2136379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11" name="CaseCode">
            <a:extLst>
              <a:ext uri="{FF2B5EF4-FFF2-40B4-BE49-F238E27FC236}">
                <a16:creationId xmlns:a16="http://schemas.microsoft.com/office/drawing/2014/main" id="{676B7924-6A82-4453-9ABA-42AE71384BDC}"/>
              </a:ext>
            </a:extLst>
          </p:cNvPr>
          <p:cNvSpPr txBox="1"/>
          <p:nvPr userDrawn="1"/>
        </p:nvSpPr>
        <p:spPr>
          <a:xfrm>
            <a:off x="6335184" y="647700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a:t>
            </a:r>
            <a:r>
              <a:rPr lang="en-US" sz="675" noProof="0" err="1">
                <a:solidFill>
                  <a:schemeClr val="bg1"/>
                </a:solidFill>
                <a:latin typeface="Calibri" panose="020F0502020204030204" pitchFamily="34" charset="0"/>
                <a:cs typeface="Calibri" panose="020F0502020204030204" pitchFamily="34" charset="0"/>
              </a:rPr>
              <a:t>Mster</a:t>
            </a:r>
            <a:r>
              <a:rPr lang="en-US" sz="675" noProof="0">
                <a:solidFill>
                  <a:schemeClr val="bg1"/>
                </a:solidFill>
                <a:latin typeface="Calibri" panose="020F0502020204030204" pitchFamily="34" charset="0"/>
                <a:cs typeface="Calibri" panose="020F0502020204030204" pitchFamily="34" charset="0"/>
              </a:rPr>
              <a:t> &gt; Slide Master]</a:t>
            </a: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1167477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44905620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8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normAutofit/>
          </a:bodyPr>
          <a:lstStyle>
            <a:lvl1pPr algn="ctr">
              <a:defRPr sz="800"/>
            </a:lvl1pPr>
          </a:lstStyle>
          <a:p>
            <a:r>
              <a:rPr lang="en-GB" sz="675"/>
              <a:t>Insert sponsorship mark here</a:t>
            </a:r>
            <a:endParaRPr lang="en-GB"/>
          </a:p>
        </p:txBody>
      </p:sp>
      <p:sp>
        <p:nvSpPr>
          <p:cNvPr id="8" name="Text Placeholder 7"/>
          <p:cNvSpPr>
            <a:spLocks noGrp="1"/>
          </p:cNvSpPr>
          <p:nvPr>
            <p:ph type="body" sz="quarter" idx="15"/>
          </p:nvPr>
        </p:nvSpPr>
        <p:spPr>
          <a:xfrm>
            <a:off x="9406187" y="5995943"/>
            <a:ext cx="2319501" cy="363722"/>
          </a:xfrm>
        </p:spPr>
        <p:txBody>
          <a:bodyPr anchor="b" anchorCtr="0">
            <a:normAutofit/>
          </a:bodyPr>
          <a:lstStyle>
            <a:lvl1pPr>
              <a:lnSpc>
                <a:spcPct val="100000"/>
              </a:lnSpc>
              <a:defRPr sz="80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7600619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6936"/>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opyright">
            <a:extLst>
              <a:ext uri="{FF2B5EF4-FFF2-40B4-BE49-F238E27FC236}">
                <a16:creationId xmlns:a16="http://schemas.microsoft.com/office/drawing/2014/main" id="{CA24B28E-5B13-4779-8D72-C52A20B99FE7}"/>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CaseCode">
            <a:extLst>
              <a:ext uri="{FF2B5EF4-FFF2-40B4-BE49-F238E27FC236}">
                <a16:creationId xmlns:a16="http://schemas.microsoft.com/office/drawing/2014/main" id="{D39A514A-409D-470C-AE9C-EFB16BDA8C83}"/>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TextBox 13">
            <a:extLst>
              <a:ext uri="{FF2B5EF4-FFF2-40B4-BE49-F238E27FC236}">
                <a16:creationId xmlns:a16="http://schemas.microsoft.com/office/drawing/2014/main" id="{72A5EC33-1574-4E3A-89DA-3EC00A69C870}"/>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52493723"/>
      </p:ext>
    </p:extLst>
  </p:cSld>
  <p:clrMapOvr>
    <a:masterClrMapping/>
  </p:clrMapOvr>
  <p:transition>
    <p:fade/>
  </p:transition>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1959869684"/>
      </p:ext>
    </p:extLst>
  </p:cSld>
  <p:clrMapOvr>
    <a:masterClrMapping/>
  </p:clrMapOvr>
  <p:hf hdr="0" dt="0"/>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413691968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Harness - Cover 4">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76E68383-C5C9-0C41-8944-BDC21381448A}"/>
              </a:ext>
            </a:extLst>
          </p:cNvPr>
          <p:cNvSpPr>
            <a:spLocks noGrp="1"/>
          </p:cNvSpPr>
          <p:nvPr>
            <p:ph type="body" sz="quarter" idx="11" hasCustomPrompt="1"/>
          </p:nvPr>
        </p:nvSpPr>
        <p:spPr>
          <a:xfrm>
            <a:off x="914400" y="3344276"/>
            <a:ext cx="4038600" cy="1628558"/>
          </a:xfrm>
          <a:prstGeom prst="rect">
            <a:avLst/>
          </a:prstGeom>
        </p:spPr>
        <p:txBody>
          <a:bodyPr>
            <a:noAutofit/>
          </a:bodyPr>
          <a:lstStyle>
            <a:lvl1pPr marL="0" indent="0">
              <a:lnSpc>
                <a:spcPts val="4340"/>
              </a:lnSpc>
              <a:buFontTx/>
              <a:buNone/>
              <a:defRPr sz="3600" b="0" i="0">
                <a:solidFill>
                  <a:srgbClr val="046A38"/>
                </a:solidFill>
                <a:latin typeface="Calibri Light" panose="020F0302020204030204" pitchFamily="34" charset="0"/>
                <a:ea typeface="Open Sans Light" panose="020B0306030504020204" pitchFamily="34" charset="0"/>
                <a:cs typeface="Calibri Light" panose="020F030202020403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Here, it’s just a headline that </a:t>
            </a:r>
            <a:br>
              <a:rPr lang="en-US"/>
            </a:br>
            <a:r>
              <a:rPr lang="en-US"/>
              <a:t>goes here as usual</a:t>
            </a:r>
          </a:p>
        </p:txBody>
      </p:sp>
      <p:sp>
        <p:nvSpPr>
          <p:cNvPr id="11" name="Text Placeholder 2">
            <a:extLst>
              <a:ext uri="{FF2B5EF4-FFF2-40B4-BE49-F238E27FC236}">
                <a16:creationId xmlns:a16="http://schemas.microsoft.com/office/drawing/2014/main" id="{A3A75483-02C0-EA47-8719-DFFC81B8B444}"/>
              </a:ext>
            </a:extLst>
          </p:cNvPr>
          <p:cNvSpPr>
            <a:spLocks noGrp="1"/>
          </p:cNvSpPr>
          <p:nvPr>
            <p:ph type="body" sz="quarter" idx="12" hasCustomPrompt="1"/>
          </p:nvPr>
        </p:nvSpPr>
        <p:spPr>
          <a:xfrm>
            <a:off x="902970" y="2631074"/>
            <a:ext cx="1892300" cy="37465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noAutofit/>
          </a:bodyPr>
          <a:lstStyle>
            <a:lvl1pPr marL="0" indent="0">
              <a:buFontTx/>
              <a:buNone/>
              <a:defRPr sz="1400" b="0" i="0" spc="50" baseline="0">
                <a:latin typeface="Calibri Light" panose="020F0302020204030204" pitchFamily="34" charset="0"/>
                <a:ea typeface="Open Sans Light" panose="020B0306030504020204" pitchFamily="34" charset="0"/>
                <a:cs typeface="Calibri Light" panose="020F0302020204030204" pitchFamily="34" charset="0"/>
              </a:defRPr>
            </a:lvl1pPr>
            <a:lvl2pPr marL="4572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2pPr>
            <a:lvl3pPr marL="9144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3pPr>
            <a:lvl4pPr marL="13716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4pPr>
            <a:lvl5pPr marL="1828800" indent="0">
              <a:buFontTx/>
              <a:buNone/>
              <a:defRPr sz="1000" b="1"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Month, XX 2021</a:t>
            </a:r>
          </a:p>
        </p:txBody>
      </p:sp>
      <p:sp>
        <p:nvSpPr>
          <p:cNvPr id="12" name="Text Placeholder 10">
            <a:extLst>
              <a:ext uri="{FF2B5EF4-FFF2-40B4-BE49-F238E27FC236}">
                <a16:creationId xmlns:a16="http://schemas.microsoft.com/office/drawing/2014/main" id="{70F42A91-1B0E-FA49-9161-0DAE0A8020D5}"/>
              </a:ext>
            </a:extLst>
          </p:cNvPr>
          <p:cNvSpPr>
            <a:spLocks noGrp="1"/>
          </p:cNvSpPr>
          <p:nvPr>
            <p:ph type="body" sz="quarter" idx="13" hasCustomPrompt="1"/>
          </p:nvPr>
        </p:nvSpPr>
        <p:spPr>
          <a:xfrm>
            <a:off x="914400" y="5235575"/>
            <a:ext cx="4038600" cy="263525"/>
          </a:xfrm>
          <a:prstGeom prst="rect">
            <a:avLst/>
          </a:prstGeom>
        </p:spPr>
        <p:txBody>
          <a:bodyPr>
            <a:noAutofit/>
          </a:bodyPr>
          <a:lstStyle>
            <a:lvl1pPr marL="0" indent="0">
              <a:buFontTx/>
              <a:buNone/>
              <a:defRPr sz="1200" b="0" i="0">
                <a:latin typeface="Calibri Light" panose="020F0302020204030204" pitchFamily="34" charset="0"/>
                <a:ea typeface="Open Sans Light" panose="020B0306030504020204" pitchFamily="34" charset="0"/>
                <a:cs typeface="Calibri Light" panose="020F0302020204030204" pitchFamily="34" charset="0"/>
              </a:defRPr>
            </a:lvl1pPr>
          </a:lstStyle>
          <a:p>
            <a:pPr lvl="0"/>
            <a:r>
              <a:rPr lang="en-US"/>
              <a:t>Short subhead can live here if needed but one line</a:t>
            </a:r>
          </a:p>
        </p:txBody>
      </p:sp>
      <p:grpSp>
        <p:nvGrpSpPr>
          <p:cNvPr id="10" name="Group 9">
            <a:extLst>
              <a:ext uri="{FF2B5EF4-FFF2-40B4-BE49-F238E27FC236}">
                <a16:creationId xmlns:a16="http://schemas.microsoft.com/office/drawing/2014/main" id="{D4BAFB49-0117-4EEE-AEAE-C7630ACD459B}"/>
              </a:ext>
            </a:extLst>
          </p:cNvPr>
          <p:cNvGrpSpPr>
            <a:grpSpLocks noChangeAspect="1"/>
          </p:cNvGrpSpPr>
          <p:nvPr userDrawn="1"/>
        </p:nvGrpSpPr>
        <p:grpSpPr>
          <a:xfrm>
            <a:off x="904875" y="815185"/>
            <a:ext cx="1714500" cy="321276"/>
            <a:chOff x="398463" y="404813"/>
            <a:chExt cx="1627187" cy="307976"/>
          </a:xfrm>
          <a:solidFill>
            <a:schemeClr val="tx1"/>
          </a:solidFill>
        </p:grpSpPr>
        <p:sp>
          <p:nvSpPr>
            <p:cNvPr id="13" name="Oval 5">
              <a:extLst>
                <a:ext uri="{FF2B5EF4-FFF2-40B4-BE49-F238E27FC236}">
                  <a16:creationId xmlns:a16="http://schemas.microsoft.com/office/drawing/2014/main" id="{D9C94AA1-FE85-426E-BB83-A4749FADED0B}"/>
                </a:ext>
              </a:extLst>
            </p:cNvPr>
            <p:cNvSpPr>
              <a:spLocks noChangeArrowheads="1"/>
            </p:cNvSpPr>
            <p:nvPr/>
          </p:nvSpPr>
          <p:spPr bwMode="auto">
            <a:xfrm>
              <a:off x="1938338" y="625476"/>
              <a:ext cx="87312" cy="87313"/>
            </a:xfrm>
            <a:prstGeom prst="ellipse">
              <a:avLst/>
            </a:prstGeom>
            <a:solidFill>
              <a:srgbClr val="93CE0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4" name="Freeform 6">
              <a:extLst>
                <a:ext uri="{FF2B5EF4-FFF2-40B4-BE49-F238E27FC236}">
                  <a16:creationId xmlns:a16="http://schemas.microsoft.com/office/drawing/2014/main" id="{B7E886E2-F9A9-40BC-B003-CE7951A2569B}"/>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5" name="Rectangle 7">
              <a:extLst>
                <a:ext uri="{FF2B5EF4-FFF2-40B4-BE49-F238E27FC236}">
                  <a16:creationId xmlns:a16="http://schemas.microsoft.com/office/drawing/2014/main" id="{F290ABBD-893B-4600-B913-8A57DDD10D0F}"/>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6" name="Freeform 8">
              <a:extLst>
                <a:ext uri="{FF2B5EF4-FFF2-40B4-BE49-F238E27FC236}">
                  <a16:creationId xmlns:a16="http://schemas.microsoft.com/office/drawing/2014/main" id="{6C8B5570-26FD-41A3-82BC-E7D8A1E5D05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7" name="Rectangle 9">
              <a:extLst>
                <a:ext uri="{FF2B5EF4-FFF2-40B4-BE49-F238E27FC236}">
                  <a16:creationId xmlns:a16="http://schemas.microsoft.com/office/drawing/2014/main" id="{DD5DECE9-8510-46F1-82A7-DD0E844A0529}"/>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Rectangle 10">
              <a:extLst>
                <a:ext uri="{FF2B5EF4-FFF2-40B4-BE49-F238E27FC236}">
                  <a16:creationId xmlns:a16="http://schemas.microsoft.com/office/drawing/2014/main" id="{D0F773ED-D91B-4D13-9DA8-B695C6DCAAB5}"/>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Freeform 11">
              <a:extLst>
                <a:ext uri="{FF2B5EF4-FFF2-40B4-BE49-F238E27FC236}">
                  <a16:creationId xmlns:a16="http://schemas.microsoft.com/office/drawing/2014/main" id="{D8175080-3386-4965-96BA-06350C592BC1}"/>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12">
              <a:extLst>
                <a:ext uri="{FF2B5EF4-FFF2-40B4-BE49-F238E27FC236}">
                  <a16:creationId xmlns:a16="http://schemas.microsoft.com/office/drawing/2014/main" id="{DA6F4A19-276E-4E2E-B4E5-9288B3687B7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13">
              <a:extLst>
                <a:ext uri="{FF2B5EF4-FFF2-40B4-BE49-F238E27FC236}">
                  <a16:creationId xmlns:a16="http://schemas.microsoft.com/office/drawing/2014/main" id="{62EB34E9-CA75-4E76-AB5E-5F14D535A30E}"/>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14">
              <a:extLst>
                <a:ext uri="{FF2B5EF4-FFF2-40B4-BE49-F238E27FC236}">
                  <a16:creationId xmlns:a16="http://schemas.microsoft.com/office/drawing/2014/main" id="{DA1F4A55-DCA9-4349-982C-C80E51CE6C0E}"/>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23" name="Picture Placeholder 2">
            <a:extLst>
              <a:ext uri="{FF2B5EF4-FFF2-40B4-BE49-F238E27FC236}">
                <a16:creationId xmlns:a16="http://schemas.microsoft.com/office/drawing/2014/main" id="{6E254EC7-650A-4BEB-9F24-D2A912484749}"/>
              </a:ext>
            </a:extLst>
          </p:cNvPr>
          <p:cNvSpPr>
            <a:spLocks noGrp="1"/>
          </p:cNvSpPr>
          <p:nvPr>
            <p:ph type="pic" sz="quarter" idx="14"/>
          </p:nvPr>
        </p:nvSpPr>
        <p:spPr>
          <a:xfrm>
            <a:off x="5133975" y="0"/>
            <a:ext cx="7058025" cy="6858000"/>
          </a:xfrm>
        </p:spPr>
        <p:txBody>
          <a:bodyPr/>
          <a:lstStyle/>
          <a:p>
            <a:endParaRPr lang="en-US"/>
          </a:p>
        </p:txBody>
      </p:sp>
    </p:spTree>
    <p:extLst>
      <p:ext uri="{BB962C8B-B14F-4D97-AF65-F5344CB8AC3E}">
        <p14:creationId xmlns:p14="http://schemas.microsoft.com/office/powerpoint/2010/main" val="3859793281"/>
      </p:ext>
    </p:extLst>
  </p:cSld>
  <p:clrMapOvr>
    <a:masterClrMapping/>
  </p:clrMapOvr>
  <p:transition/>
  <p:extLst>
    <p:ext uri="{DCECCB84-F9BA-43D5-87BE-67443E8EF086}">
      <p15:sldGuideLst xmlns:p15="http://schemas.microsoft.com/office/powerpoint/2012/main">
        <p15:guide id="1" pos="384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Table of Contents 2">
    <p:bg>
      <p:bgPr>
        <a:solidFill>
          <a:schemeClr val="bg1"/>
        </a:solidFill>
        <a:effectLst/>
      </p:bgPr>
    </p:bg>
    <p:spTree>
      <p:nvGrpSpPr>
        <p:cNvPr id="1" name=""/>
        <p:cNvGrpSpPr/>
        <p:nvPr/>
      </p:nvGrpSpPr>
      <p:grpSpPr>
        <a:xfrm>
          <a:off x="0" y="0"/>
          <a:ext cx="0" cy="0"/>
          <a:chOff x="0" y="0"/>
          <a:chExt cx="0" cy="0"/>
        </a:xfrm>
      </p:grpSpPr>
      <p:sp>
        <p:nvSpPr>
          <p:cNvPr id="19" name="Title Placeholder 1">
            <a:extLst>
              <a:ext uri="{FF2B5EF4-FFF2-40B4-BE49-F238E27FC236}">
                <a16:creationId xmlns:a16="http://schemas.microsoft.com/office/drawing/2014/main" id="{55B89E7F-3C52-C64A-80BF-4FD0B4075AEE}"/>
              </a:ext>
            </a:extLst>
          </p:cNvPr>
          <p:cNvSpPr>
            <a:spLocks noGrp="1"/>
          </p:cNvSpPr>
          <p:nvPr>
            <p:ph type="title" hasCustomPrompt="1"/>
          </p:nvPr>
        </p:nvSpPr>
        <p:spPr bwMode="gray">
          <a:xfrm>
            <a:off x="7200900" y="1654610"/>
            <a:ext cx="4016405" cy="288490"/>
          </a:xfrm>
          <a:prstGeom prst="rect">
            <a:avLst/>
          </a:prstGeom>
        </p:spPr>
        <p:txBody>
          <a:bodyPr vert="horz" lIns="0" tIns="0" rIns="0" bIns="0" rtlCol="0" anchor="t" anchorCtr="0">
            <a:noAutofit/>
          </a:bodyPr>
          <a:lstStyle>
            <a:lvl1pPr>
              <a:defRPr>
                <a:solidFill>
                  <a:schemeClr val="tx1"/>
                </a:solidFill>
                <a:latin typeface="Calibri Light" panose="020F0302020204030204" pitchFamily="34" charset="0"/>
                <a:cs typeface="Calibri Light" panose="020F0302020204030204" pitchFamily="34" charset="0"/>
              </a:defRPr>
            </a:lvl1pPr>
          </a:lstStyle>
          <a:p>
            <a:r>
              <a:rPr lang="en-US" noProof="0"/>
              <a:t>Contents</a:t>
            </a:r>
          </a:p>
        </p:txBody>
      </p:sp>
      <p:sp>
        <p:nvSpPr>
          <p:cNvPr id="20" name="Text Placeholder 7">
            <a:extLst>
              <a:ext uri="{FF2B5EF4-FFF2-40B4-BE49-F238E27FC236}">
                <a16:creationId xmlns:a16="http://schemas.microsoft.com/office/drawing/2014/main" id="{324B2C61-0C32-2B42-99F8-41DE475E85DE}"/>
              </a:ext>
            </a:extLst>
          </p:cNvPr>
          <p:cNvSpPr>
            <a:spLocks noGrp="1"/>
          </p:cNvSpPr>
          <p:nvPr>
            <p:ph type="body" sz="quarter" idx="12" hasCustomPrompt="1"/>
          </p:nvPr>
        </p:nvSpPr>
        <p:spPr>
          <a:xfrm>
            <a:off x="8278320" y="2399351"/>
            <a:ext cx="2743200" cy="288490"/>
          </a:xfrm>
          <a:prstGeom prst="rect">
            <a:avLst/>
          </a:prstGeom>
        </p:spPr>
        <p:txBody>
          <a:bodyPr>
            <a:noAutofit/>
          </a:bodyPr>
          <a:lstStyle>
            <a:lvl1pPr marL="0" indent="0">
              <a:buFontTx/>
              <a:buNone/>
              <a:defRPr sz="1200" b="0" i="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Title</a:t>
            </a:r>
          </a:p>
        </p:txBody>
      </p:sp>
      <p:sp>
        <p:nvSpPr>
          <p:cNvPr id="22" name="Text Placeholder 7">
            <a:extLst>
              <a:ext uri="{FF2B5EF4-FFF2-40B4-BE49-F238E27FC236}">
                <a16:creationId xmlns:a16="http://schemas.microsoft.com/office/drawing/2014/main" id="{EEAB1D9F-BFAA-784E-A127-41167ED13DCD}"/>
              </a:ext>
            </a:extLst>
          </p:cNvPr>
          <p:cNvSpPr>
            <a:spLocks noGrp="1"/>
          </p:cNvSpPr>
          <p:nvPr>
            <p:ph type="body" sz="quarter" idx="19" hasCustomPrompt="1"/>
          </p:nvPr>
        </p:nvSpPr>
        <p:spPr>
          <a:xfrm>
            <a:off x="8278320" y="3127556"/>
            <a:ext cx="2743200" cy="288490"/>
          </a:xfrm>
          <a:prstGeom prst="rect">
            <a:avLst/>
          </a:prstGeom>
        </p:spPr>
        <p:txBody>
          <a:bodyPr>
            <a:noAutofit/>
          </a:bodyPr>
          <a:lstStyle>
            <a:lvl1pPr marL="0" indent="0">
              <a:buFontTx/>
              <a:buNone/>
              <a:defRPr sz="1200" b="0" i="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Title</a:t>
            </a:r>
          </a:p>
        </p:txBody>
      </p:sp>
      <p:sp>
        <p:nvSpPr>
          <p:cNvPr id="23" name="Text Placeholder 7">
            <a:extLst>
              <a:ext uri="{FF2B5EF4-FFF2-40B4-BE49-F238E27FC236}">
                <a16:creationId xmlns:a16="http://schemas.microsoft.com/office/drawing/2014/main" id="{91E718EB-FA51-094F-BBEE-C5473A3BA304}"/>
              </a:ext>
            </a:extLst>
          </p:cNvPr>
          <p:cNvSpPr>
            <a:spLocks noGrp="1"/>
          </p:cNvSpPr>
          <p:nvPr>
            <p:ph type="body" sz="quarter" idx="20" hasCustomPrompt="1"/>
          </p:nvPr>
        </p:nvSpPr>
        <p:spPr>
          <a:xfrm>
            <a:off x="8278320" y="3855761"/>
            <a:ext cx="2743200" cy="288490"/>
          </a:xfrm>
          <a:prstGeom prst="rect">
            <a:avLst/>
          </a:prstGeom>
        </p:spPr>
        <p:txBody>
          <a:bodyPr>
            <a:noAutofit/>
          </a:bodyPr>
          <a:lstStyle>
            <a:lvl1pPr marL="0" indent="0">
              <a:buFontTx/>
              <a:buNone/>
              <a:defRPr sz="1200" b="0" i="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Title</a:t>
            </a:r>
          </a:p>
        </p:txBody>
      </p:sp>
      <p:sp>
        <p:nvSpPr>
          <p:cNvPr id="24" name="Text Placeholder 7">
            <a:extLst>
              <a:ext uri="{FF2B5EF4-FFF2-40B4-BE49-F238E27FC236}">
                <a16:creationId xmlns:a16="http://schemas.microsoft.com/office/drawing/2014/main" id="{42B88A3E-D9AB-BD48-AC51-26C24A55E2F7}"/>
              </a:ext>
            </a:extLst>
          </p:cNvPr>
          <p:cNvSpPr>
            <a:spLocks noGrp="1"/>
          </p:cNvSpPr>
          <p:nvPr>
            <p:ph type="body" sz="quarter" idx="21" hasCustomPrompt="1"/>
          </p:nvPr>
        </p:nvSpPr>
        <p:spPr>
          <a:xfrm>
            <a:off x="8278320" y="4583966"/>
            <a:ext cx="2743200" cy="288490"/>
          </a:xfrm>
          <a:prstGeom prst="rect">
            <a:avLst/>
          </a:prstGeom>
        </p:spPr>
        <p:txBody>
          <a:bodyPr>
            <a:noAutofit/>
          </a:bodyPr>
          <a:lstStyle>
            <a:lvl1pPr marL="0" indent="0">
              <a:buFontTx/>
              <a:buNone/>
              <a:defRPr sz="1200" b="0" i="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Title</a:t>
            </a:r>
          </a:p>
        </p:txBody>
      </p:sp>
      <p:sp>
        <p:nvSpPr>
          <p:cNvPr id="25" name="Text Placeholder 7">
            <a:extLst>
              <a:ext uri="{FF2B5EF4-FFF2-40B4-BE49-F238E27FC236}">
                <a16:creationId xmlns:a16="http://schemas.microsoft.com/office/drawing/2014/main" id="{92C7338C-3F9E-734D-97B2-35A2CBD88A94}"/>
              </a:ext>
            </a:extLst>
          </p:cNvPr>
          <p:cNvSpPr>
            <a:spLocks noGrp="1"/>
          </p:cNvSpPr>
          <p:nvPr>
            <p:ph type="body" sz="quarter" idx="22" hasCustomPrompt="1"/>
          </p:nvPr>
        </p:nvSpPr>
        <p:spPr>
          <a:xfrm>
            <a:off x="8278320" y="5312171"/>
            <a:ext cx="2743200" cy="288490"/>
          </a:xfrm>
          <a:prstGeom prst="rect">
            <a:avLst/>
          </a:prstGeom>
        </p:spPr>
        <p:txBody>
          <a:bodyPr>
            <a:noAutofit/>
          </a:bodyPr>
          <a:lstStyle>
            <a:lvl1pPr marL="0" indent="0">
              <a:buFontTx/>
              <a:buNone/>
              <a:defRPr sz="1200" b="0" i="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Title</a:t>
            </a:r>
          </a:p>
        </p:txBody>
      </p:sp>
      <p:sp>
        <p:nvSpPr>
          <p:cNvPr id="26" name="Text Placeholder 7">
            <a:extLst>
              <a:ext uri="{FF2B5EF4-FFF2-40B4-BE49-F238E27FC236}">
                <a16:creationId xmlns:a16="http://schemas.microsoft.com/office/drawing/2014/main" id="{9652B2C3-62E0-1E43-B9F0-FF63D6A35B20}"/>
              </a:ext>
            </a:extLst>
          </p:cNvPr>
          <p:cNvSpPr>
            <a:spLocks noGrp="1"/>
          </p:cNvSpPr>
          <p:nvPr>
            <p:ph type="body" sz="quarter" idx="23" hasCustomPrompt="1"/>
          </p:nvPr>
        </p:nvSpPr>
        <p:spPr>
          <a:xfrm>
            <a:off x="8278320" y="6040376"/>
            <a:ext cx="2743200" cy="288490"/>
          </a:xfrm>
          <a:prstGeom prst="rect">
            <a:avLst/>
          </a:prstGeom>
        </p:spPr>
        <p:txBody>
          <a:bodyPr>
            <a:noAutofit/>
          </a:bodyPr>
          <a:lstStyle>
            <a:lvl1pPr marL="0" indent="0">
              <a:buFontTx/>
              <a:buNone/>
              <a:defRPr sz="1200" b="0" i="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Title</a:t>
            </a:r>
          </a:p>
        </p:txBody>
      </p:sp>
      <p:sp>
        <p:nvSpPr>
          <p:cNvPr id="35" name="Text Placeholder 33">
            <a:extLst>
              <a:ext uri="{FF2B5EF4-FFF2-40B4-BE49-F238E27FC236}">
                <a16:creationId xmlns:a16="http://schemas.microsoft.com/office/drawing/2014/main" id="{00979B26-BA25-864A-B36C-0AEE0DE6E572}"/>
              </a:ext>
            </a:extLst>
          </p:cNvPr>
          <p:cNvSpPr>
            <a:spLocks noGrp="1"/>
          </p:cNvSpPr>
          <p:nvPr>
            <p:ph type="body" sz="quarter" idx="24" hasCustomPrompt="1"/>
          </p:nvPr>
        </p:nvSpPr>
        <p:spPr>
          <a:xfrm>
            <a:off x="7215850" y="2417671"/>
            <a:ext cx="752475" cy="3971925"/>
          </a:xfrm>
        </p:spPr>
        <p:txBody>
          <a:bodyPr>
            <a:noAutofit/>
          </a:bodyPr>
          <a:lstStyle>
            <a:lvl1pPr>
              <a:lnSpc>
                <a:spcPts val="1850"/>
              </a:lnSpc>
              <a:defRPr sz="2400" b="0" i="0">
                <a:solidFill>
                  <a:schemeClr val="tx1"/>
                </a:solidFill>
                <a:latin typeface="Calibri Light" panose="020F0302020204030204" pitchFamily="34" charset="0"/>
                <a:ea typeface="Open Sans Light" panose="020B030603050402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01</a:t>
            </a:r>
          </a:p>
          <a:p>
            <a:pPr lvl="0"/>
            <a:endParaRPr lang="en-US"/>
          </a:p>
          <a:p>
            <a:pPr lvl="0"/>
            <a:r>
              <a:rPr lang="en-US"/>
              <a:t>02</a:t>
            </a:r>
          </a:p>
          <a:p>
            <a:pPr lvl="0"/>
            <a:endParaRPr lang="en-US"/>
          </a:p>
          <a:p>
            <a:pPr lvl="0"/>
            <a:r>
              <a:rPr lang="en-US"/>
              <a:t>03</a:t>
            </a:r>
          </a:p>
          <a:p>
            <a:pPr lvl="0"/>
            <a:endParaRPr lang="en-US"/>
          </a:p>
          <a:p>
            <a:pPr lvl="0"/>
            <a:r>
              <a:rPr lang="en-US"/>
              <a:t>04</a:t>
            </a:r>
          </a:p>
          <a:p>
            <a:pPr lvl="0"/>
            <a:endParaRPr lang="en-US"/>
          </a:p>
          <a:p>
            <a:pPr lvl="0"/>
            <a:r>
              <a:rPr lang="en-US"/>
              <a:t>05</a:t>
            </a:r>
          </a:p>
          <a:p>
            <a:pPr lvl="0"/>
            <a:endParaRPr lang="en-US"/>
          </a:p>
          <a:p>
            <a:pPr lvl="0"/>
            <a:r>
              <a:rPr lang="en-US"/>
              <a:t>06</a:t>
            </a:r>
          </a:p>
        </p:txBody>
      </p:sp>
      <p:sp>
        <p:nvSpPr>
          <p:cNvPr id="16" name="Picture Placeholder 2">
            <a:extLst>
              <a:ext uri="{FF2B5EF4-FFF2-40B4-BE49-F238E27FC236}">
                <a16:creationId xmlns:a16="http://schemas.microsoft.com/office/drawing/2014/main" id="{1C696AB6-024B-4B7B-9456-4854FC4AEF6F}"/>
              </a:ext>
            </a:extLst>
          </p:cNvPr>
          <p:cNvSpPr>
            <a:spLocks noGrp="1"/>
          </p:cNvSpPr>
          <p:nvPr>
            <p:ph type="pic" sz="quarter" idx="25"/>
          </p:nvPr>
        </p:nvSpPr>
        <p:spPr>
          <a:xfrm>
            <a:off x="-4762" y="1810867"/>
            <a:ext cx="6243637" cy="5047133"/>
          </a:xfrm>
        </p:spPr>
        <p:txBody>
          <a:bodyPr/>
          <a:lstStyle/>
          <a:p>
            <a:endParaRPr lang="en-US"/>
          </a:p>
        </p:txBody>
      </p:sp>
    </p:spTree>
    <p:extLst>
      <p:ext uri="{BB962C8B-B14F-4D97-AF65-F5344CB8AC3E}">
        <p14:creationId xmlns:p14="http://schemas.microsoft.com/office/powerpoint/2010/main" val="1270782802"/>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5_Table of Contents 2">
    <p:bg>
      <p:bgPr>
        <a:solidFill>
          <a:srgbClr val="046A38"/>
        </a:solidFill>
        <a:effectLst/>
      </p:bgPr>
    </p:bg>
    <p:spTree>
      <p:nvGrpSpPr>
        <p:cNvPr id="1" name=""/>
        <p:cNvGrpSpPr/>
        <p:nvPr/>
      </p:nvGrpSpPr>
      <p:grpSpPr>
        <a:xfrm>
          <a:off x="0" y="0"/>
          <a:ext cx="0" cy="0"/>
          <a:chOff x="0" y="0"/>
          <a:chExt cx="0" cy="0"/>
        </a:xfrm>
      </p:grpSpPr>
      <p:sp>
        <p:nvSpPr>
          <p:cNvPr id="19" name="Title Placeholder 1">
            <a:extLst>
              <a:ext uri="{FF2B5EF4-FFF2-40B4-BE49-F238E27FC236}">
                <a16:creationId xmlns:a16="http://schemas.microsoft.com/office/drawing/2014/main" id="{55B89E7F-3C52-C64A-80BF-4FD0B4075AEE}"/>
              </a:ext>
            </a:extLst>
          </p:cNvPr>
          <p:cNvSpPr>
            <a:spLocks noGrp="1"/>
          </p:cNvSpPr>
          <p:nvPr>
            <p:ph type="title" hasCustomPrompt="1"/>
          </p:nvPr>
        </p:nvSpPr>
        <p:spPr bwMode="gray">
          <a:xfrm>
            <a:off x="7200900" y="1654610"/>
            <a:ext cx="4016405" cy="288490"/>
          </a:xfrm>
          <a:prstGeom prst="rect">
            <a:avLst/>
          </a:prstGeom>
        </p:spPr>
        <p:txBody>
          <a:bodyPr vert="horz" lIns="0" tIns="0" rIns="0" bIns="0" rtlCol="0" anchor="t" anchorCtr="0">
            <a:noAutofit/>
          </a:bodyPr>
          <a:lstStyle>
            <a:lvl1pPr>
              <a:defRPr>
                <a:solidFill>
                  <a:schemeClr val="bg1"/>
                </a:solidFill>
                <a:latin typeface="Calibri Light" panose="020F0302020204030204" pitchFamily="34" charset="0"/>
                <a:cs typeface="Calibri Light" panose="020F0302020204030204" pitchFamily="34" charset="0"/>
              </a:defRPr>
            </a:lvl1pPr>
          </a:lstStyle>
          <a:p>
            <a:r>
              <a:rPr lang="en-US" noProof="0"/>
              <a:t>Contents</a:t>
            </a:r>
          </a:p>
        </p:txBody>
      </p:sp>
      <p:sp>
        <p:nvSpPr>
          <p:cNvPr id="20" name="Text Placeholder 7">
            <a:extLst>
              <a:ext uri="{FF2B5EF4-FFF2-40B4-BE49-F238E27FC236}">
                <a16:creationId xmlns:a16="http://schemas.microsoft.com/office/drawing/2014/main" id="{324B2C61-0C32-2B42-99F8-41DE475E85DE}"/>
              </a:ext>
            </a:extLst>
          </p:cNvPr>
          <p:cNvSpPr>
            <a:spLocks noGrp="1"/>
          </p:cNvSpPr>
          <p:nvPr>
            <p:ph type="body" sz="quarter" idx="12" hasCustomPrompt="1"/>
          </p:nvPr>
        </p:nvSpPr>
        <p:spPr>
          <a:xfrm>
            <a:off x="8278320" y="2399351"/>
            <a:ext cx="2743200" cy="288490"/>
          </a:xfrm>
          <a:prstGeom prst="rect">
            <a:avLst/>
          </a:prstGeom>
        </p:spPr>
        <p:txBody>
          <a:bodyPr>
            <a:noAutofit/>
          </a:bodyPr>
          <a:lstStyle>
            <a:lvl1pPr marL="0" indent="0">
              <a:buFontTx/>
              <a:buNone/>
              <a:defRPr sz="1200" b="0" i="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Title</a:t>
            </a:r>
          </a:p>
        </p:txBody>
      </p:sp>
      <p:sp>
        <p:nvSpPr>
          <p:cNvPr id="22" name="Text Placeholder 7">
            <a:extLst>
              <a:ext uri="{FF2B5EF4-FFF2-40B4-BE49-F238E27FC236}">
                <a16:creationId xmlns:a16="http://schemas.microsoft.com/office/drawing/2014/main" id="{EEAB1D9F-BFAA-784E-A127-41167ED13DCD}"/>
              </a:ext>
            </a:extLst>
          </p:cNvPr>
          <p:cNvSpPr>
            <a:spLocks noGrp="1"/>
          </p:cNvSpPr>
          <p:nvPr>
            <p:ph type="body" sz="quarter" idx="19" hasCustomPrompt="1"/>
          </p:nvPr>
        </p:nvSpPr>
        <p:spPr>
          <a:xfrm>
            <a:off x="8278320" y="3127556"/>
            <a:ext cx="2743200" cy="288490"/>
          </a:xfrm>
          <a:prstGeom prst="rect">
            <a:avLst/>
          </a:prstGeom>
        </p:spPr>
        <p:txBody>
          <a:bodyPr>
            <a:noAutofit/>
          </a:bodyPr>
          <a:lstStyle>
            <a:lvl1pPr marL="0" indent="0">
              <a:buFontTx/>
              <a:buNone/>
              <a:defRPr sz="1200" b="0" i="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Title</a:t>
            </a:r>
          </a:p>
        </p:txBody>
      </p:sp>
      <p:sp>
        <p:nvSpPr>
          <p:cNvPr id="23" name="Text Placeholder 7">
            <a:extLst>
              <a:ext uri="{FF2B5EF4-FFF2-40B4-BE49-F238E27FC236}">
                <a16:creationId xmlns:a16="http://schemas.microsoft.com/office/drawing/2014/main" id="{91E718EB-FA51-094F-BBEE-C5473A3BA304}"/>
              </a:ext>
            </a:extLst>
          </p:cNvPr>
          <p:cNvSpPr>
            <a:spLocks noGrp="1"/>
          </p:cNvSpPr>
          <p:nvPr>
            <p:ph type="body" sz="quarter" idx="20" hasCustomPrompt="1"/>
          </p:nvPr>
        </p:nvSpPr>
        <p:spPr>
          <a:xfrm>
            <a:off x="8278320" y="3855761"/>
            <a:ext cx="2743200" cy="288490"/>
          </a:xfrm>
          <a:prstGeom prst="rect">
            <a:avLst/>
          </a:prstGeom>
        </p:spPr>
        <p:txBody>
          <a:bodyPr>
            <a:noAutofit/>
          </a:bodyPr>
          <a:lstStyle>
            <a:lvl1pPr marL="0" indent="0">
              <a:buFontTx/>
              <a:buNone/>
              <a:defRPr sz="1200" b="0" i="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Title</a:t>
            </a:r>
          </a:p>
        </p:txBody>
      </p:sp>
      <p:sp>
        <p:nvSpPr>
          <p:cNvPr id="24" name="Text Placeholder 7">
            <a:extLst>
              <a:ext uri="{FF2B5EF4-FFF2-40B4-BE49-F238E27FC236}">
                <a16:creationId xmlns:a16="http://schemas.microsoft.com/office/drawing/2014/main" id="{42B88A3E-D9AB-BD48-AC51-26C24A55E2F7}"/>
              </a:ext>
            </a:extLst>
          </p:cNvPr>
          <p:cNvSpPr>
            <a:spLocks noGrp="1"/>
          </p:cNvSpPr>
          <p:nvPr>
            <p:ph type="body" sz="quarter" idx="21" hasCustomPrompt="1"/>
          </p:nvPr>
        </p:nvSpPr>
        <p:spPr>
          <a:xfrm>
            <a:off x="8278320" y="4583966"/>
            <a:ext cx="2743200" cy="288490"/>
          </a:xfrm>
          <a:prstGeom prst="rect">
            <a:avLst/>
          </a:prstGeom>
        </p:spPr>
        <p:txBody>
          <a:bodyPr>
            <a:noAutofit/>
          </a:bodyPr>
          <a:lstStyle>
            <a:lvl1pPr marL="0" indent="0">
              <a:buFontTx/>
              <a:buNone/>
              <a:defRPr sz="1200" b="0" i="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Title</a:t>
            </a:r>
          </a:p>
        </p:txBody>
      </p:sp>
      <p:sp>
        <p:nvSpPr>
          <p:cNvPr id="25" name="Text Placeholder 7">
            <a:extLst>
              <a:ext uri="{FF2B5EF4-FFF2-40B4-BE49-F238E27FC236}">
                <a16:creationId xmlns:a16="http://schemas.microsoft.com/office/drawing/2014/main" id="{92C7338C-3F9E-734D-97B2-35A2CBD88A94}"/>
              </a:ext>
            </a:extLst>
          </p:cNvPr>
          <p:cNvSpPr>
            <a:spLocks noGrp="1"/>
          </p:cNvSpPr>
          <p:nvPr>
            <p:ph type="body" sz="quarter" idx="22" hasCustomPrompt="1"/>
          </p:nvPr>
        </p:nvSpPr>
        <p:spPr>
          <a:xfrm>
            <a:off x="8278320" y="5312171"/>
            <a:ext cx="2743200" cy="288490"/>
          </a:xfrm>
          <a:prstGeom prst="rect">
            <a:avLst/>
          </a:prstGeom>
        </p:spPr>
        <p:txBody>
          <a:bodyPr>
            <a:noAutofit/>
          </a:bodyPr>
          <a:lstStyle>
            <a:lvl1pPr marL="0" indent="0">
              <a:buFontTx/>
              <a:buNone/>
              <a:defRPr sz="1200" b="0" i="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Title</a:t>
            </a:r>
          </a:p>
        </p:txBody>
      </p:sp>
      <p:sp>
        <p:nvSpPr>
          <p:cNvPr id="26" name="Text Placeholder 7">
            <a:extLst>
              <a:ext uri="{FF2B5EF4-FFF2-40B4-BE49-F238E27FC236}">
                <a16:creationId xmlns:a16="http://schemas.microsoft.com/office/drawing/2014/main" id="{9652B2C3-62E0-1E43-B9F0-FF63D6A35B20}"/>
              </a:ext>
            </a:extLst>
          </p:cNvPr>
          <p:cNvSpPr>
            <a:spLocks noGrp="1"/>
          </p:cNvSpPr>
          <p:nvPr>
            <p:ph type="body" sz="quarter" idx="23" hasCustomPrompt="1"/>
          </p:nvPr>
        </p:nvSpPr>
        <p:spPr>
          <a:xfrm>
            <a:off x="8278320" y="6040376"/>
            <a:ext cx="2743200" cy="288490"/>
          </a:xfrm>
          <a:prstGeom prst="rect">
            <a:avLst/>
          </a:prstGeom>
        </p:spPr>
        <p:txBody>
          <a:bodyPr>
            <a:noAutofit/>
          </a:bodyPr>
          <a:lstStyle>
            <a:lvl1pPr marL="0" indent="0">
              <a:buFontTx/>
              <a:buNone/>
              <a:defRPr sz="1200" b="0" i="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vl2pPr marL="4572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FontTx/>
              <a:buNone/>
              <a:defRPr sz="1200" b="0" i="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Title</a:t>
            </a:r>
          </a:p>
        </p:txBody>
      </p:sp>
      <p:sp>
        <p:nvSpPr>
          <p:cNvPr id="35" name="Text Placeholder 33">
            <a:extLst>
              <a:ext uri="{FF2B5EF4-FFF2-40B4-BE49-F238E27FC236}">
                <a16:creationId xmlns:a16="http://schemas.microsoft.com/office/drawing/2014/main" id="{00979B26-BA25-864A-B36C-0AEE0DE6E572}"/>
              </a:ext>
            </a:extLst>
          </p:cNvPr>
          <p:cNvSpPr>
            <a:spLocks noGrp="1"/>
          </p:cNvSpPr>
          <p:nvPr>
            <p:ph type="body" sz="quarter" idx="24" hasCustomPrompt="1"/>
          </p:nvPr>
        </p:nvSpPr>
        <p:spPr>
          <a:xfrm>
            <a:off x="7215850" y="2417671"/>
            <a:ext cx="752475" cy="3971925"/>
          </a:xfrm>
        </p:spPr>
        <p:txBody>
          <a:bodyPr>
            <a:noAutofit/>
          </a:bodyPr>
          <a:lstStyle>
            <a:lvl1pPr>
              <a:lnSpc>
                <a:spcPts val="1850"/>
              </a:lnSpc>
              <a:defRPr sz="2400" b="0" i="0">
                <a:solidFill>
                  <a:schemeClr val="bg1"/>
                </a:solidFill>
                <a:latin typeface="Calibri Light" panose="020F0302020204030204" pitchFamily="34" charset="0"/>
                <a:ea typeface="Open Sans Light" panose="020B030603050402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01</a:t>
            </a:r>
          </a:p>
          <a:p>
            <a:pPr lvl="0"/>
            <a:endParaRPr lang="en-US"/>
          </a:p>
          <a:p>
            <a:pPr lvl="0"/>
            <a:r>
              <a:rPr lang="en-US"/>
              <a:t>02</a:t>
            </a:r>
          </a:p>
          <a:p>
            <a:pPr lvl="0"/>
            <a:endParaRPr lang="en-US"/>
          </a:p>
          <a:p>
            <a:pPr lvl="0"/>
            <a:r>
              <a:rPr lang="en-US"/>
              <a:t>03</a:t>
            </a:r>
          </a:p>
          <a:p>
            <a:pPr lvl="0"/>
            <a:endParaRPr lang="en-US"/>
          </a:p>
          <a:p>
            <a:pPr lvl="0"/>
            <a:r>
              <a:rPr lang="en-US"/>
              <a:t>04</a:t>
            </a:r>
          </a:p>
          <a:p>
            <a:pPr lvl="0"/>
            <a:endParaRPr lang="en-US"/>
          </a:p>
          <a:p>
            <a:pPr lvl="0"/>
            <a:r>
              <a:rPr lang="en-US"/>
              <a:t>05</a:t>
            </a:r>
          </a:p>
          <a:p>
            <a:pPr lvl="0"/>
            <a:endParaRPr lang="en-US"/>
          </a:p>
          <a:p>
            <a:pPr lvl="0"/>
            <a:r>
              <a:rPr lang="en-US"/>
              <a:t>06</a:t>
            </a:r>
          </a:p>
        </p:txBody>
      </p:sp>
      <p:sp>
        <p:nvSpPr>
          <p:cNvPr id="16" name="Picture Placeholder 2">
            <a:extLst>
              <a:ext uri="{FF2B5EF4-FFF2-40B4-BE49-F238E27FC236}">
                <a16:creationId xmlns:a16="http://schemas.microsoft.com/office/drawing/2014/main" id="{1C696AB6-024B-4B7B-9456-4854FC4AEF6F}"/>
              </a:ext>
            </a:extLst>
          </p:cNvPr>
          <p:cNvSpPr>
            <a:spLocks noGrp="1"/>
          </p:cNvSpPr>
          <p:nvPr>
            <p:ph type="pic" sz="quarter" idx="25"/>
          </p:nvPr>
        </p:nvSpPr>
        <p:spPr>
          <a:xfrm>
            <a:off x="-4762" y="1810867"/>
            <a:ext cx="6243637" cy="5047133"/>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364129766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No Conten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4FF7658A-43FB-0B4D-86E1-500CE541A5C2}"/>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lvl1pPr>
              <a:defRPr>
                <a:latin typeface="Calibri Light" panose="020F0302020204030204" pitchFamily="34" charset="0"/>
                <a:cs typeface="Calibri Light" panose="020F0302020204030204" pitchFamily="34" charset="0"/>
              </a:defRPr>
            </a:lvl1pPr>
          </a:lstStyle>
          <a:p>
            <a:r>
              <a:rPr lang="en-US" noProof="0"/>
              <a:t>Click to edit Master title s edit Master title style tyle</a:t>
            </a:r>
          </a:p>
        </p:txBody>
      </p:sp>
    </p:spTree>
    <p:extLst>
      <p:ext uri="{BB962C8B-B14F-4D97-AF65-F5344CB8AC3E}">
        <p14:creationId xmlns:p14="http://schemas.microsoft.com/office/powerpoint/2010/main" val="318922920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and Subhead: No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US" noProof="0"/>
              <a:t>Click to edit Master title s edit Master title style tyle</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914400" y="1184239"/>
            <a:ext cx="103251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Tree>
    <p:extLst>
      <p:ext uri="{BB962C8B-B14F-4D97-AF65-F5344CB8AC3E}">
        <p14:creationId xmlns:p14="http://schemas.microsoft.com/office/powerpoint/2010/main" val="1323614178"/>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_Title and Subhead: No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US" noProof="0"/>
              <a:t>Click to edit Master title s edit Master title style tyle</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914400" y="1184239"/>
            <a:ext cx="103251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
        <p:nvSpPr>
          <p:cNvPr id="4" name="Text Placeholder 10">
            <a:extLst>
              <a:ext uri="{FF2B5EF4-FFF2-40B4-BE49-F238E27FC236}">
                <a16:creationId xmlns:a16="http://schemas.microsoft.com/office/drawing/2014/main" id="{2D5FD51C-6508-44D4-A999-944453F8D7E9}"/>
              </a:ext>
            </a:extLst>
          </p:cNvPr>
          <p:cNvSpPr>
            <a:spLocks noGrp="1"/>
          </p:cNvSpPr>
          <p:nvPr>
            <p:ph type="body" sz="quarter" idx="19" hasCustomPrompt="1"/>
          </p:nvPr>
        </p:nvSpPr>
        <p:spPr>
          <a:xfrm>
            <a:off x="914399" y="2421166"/>
            <a:ext cx="10325099" cy="215444"/>
          </a:xfrm>
        </p:spPr>
        <p:txBody>
          <a:bodyPr wrap="square">
            <a:spAutoFit/>
          </a:bodyPr>
          <a:lstStyle>
            <a:lvl1pPr>
              <a:defRPr sz="1400" b="1">
                <a:solidFill>
                  <a:schemeClr val="tx1"/>
                </a:solidFill>
                <a:latin typeface="Calibri Light" panose="020F0302020204030204" pitchFamily="34" charset="0"/>
                <a:cs typeface="Calibri Light" panose="020F0302020204030204" pitchFamily="34" charset="0"/>
              </a:defRPr>
            </a:lvl1pPr>
            <a:lvl5pPr>
              <a:defRPr/>
            </a:lvl5pPr>
          </a:lstStyle>
          <a:p>
            <a:pPr lvl="0"/>
            <a:r>
              <a:rPr lang="en-US"/>
              <a:t>Felis </a:t>
            </a:r>
            <a:r>
              <a:rPr lang="en-US" err="1"/>
              <a:t>blandit</a:t>
            </a:r>
            <a:r>
              <a:rPr lang="en-US"/>
              <a:t> cursus</a:t>
            </a:r>
          </a:p>
        </p:txBody>
      </p:sp>
      <p:sp>
        <p:nvSpPr>
          <p:cNvPr id="5" name="Text Placeholder 14">
            <a:extLst>
              <a:ext uri="{FF2B5EF4-FFF2-40B4-BE49-F238E27FC236}">
                <a16:creationId xmlns:a16="http://schemas.microsoft.com/office/drawing/2014/main" id="{D69C416E-9075-464C-BBB9-6428A92B9915}"/>
              </a:ext>
            </a:extLst>
          </p:cNvPr>
          <p:cNvSpPr>
            <a:spLocks noGrp="1"/>
          </p:cNvSpPr>
          <p:nvPr>
            <p:ph type="body" sz="quarter" idx="22" hasCustomPrompt="1"/>
          </p:nvPr>
        </p:nvSpPr>
        <p:spPr>
          <a:xfrm>
            <a:off x="914400" y="2959100"/>
            <a:ext cx="10325098" cy="3142597"/>
          </a:xfrm>
        </p:spPr>
        <p:txBody>
          <a:bodyPr/>
          <a:lstStyle>
            <a:lvl1pPr>
              <a:defRPr>
                <a:latin typeface="Calibri Light" panose="020F0302020204030204" pitchFamily="34" charset="0"/>
                <a:cs typeface="Calibri Light" panose="020F0302020204030204" pitchFamily="34" charset="0"/>
              </a:defRPr>
            </a:lvl1pPr>
          </a:lstStyle>
          <a:p>
            <a:pPr lvl="0"/>
            <a:r>
              <a:rPr lang="en-US"/>
              <a:t>Lorem ipsum dolor sit amet consectetur adipiscing elit, </a:t>
            </a:r>
            <a:r>
              <a:rPr lang="en-US" err="1"/>
              <a:t>urna</a:t>
            </a:r>
            <a:r>
              <a:rPr lang="en-US"/>
              <a:t> consequ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Etu</a:t>
            </a:r>
            <a:r>
              <a:rPr lang="en-US"/>
              <a:t> </a:t>
            </a:r>
            <a:r>
              <a:rPr lang="en-US" err="1"/>
              <a:t>phasellus</a:t>
            </a:r>
            <a:r>
              <a:rPr lang="en-US"/>
              <a:t> ante </a:t>
            </a:r>
            <a:r>
              <a:rPr lang="en-US" err="1"/>
              <a:t>pellentesque</a:t>
            </a:r>
            <a:r>
              <a:rPr lang="en-US"/>
              <a:t> </a:t>
            </a:r>
            <a:r>
              <a:rPr lang="en-US" err="1"/>
              <a:t>erat</a:t>
            </a:r>
            <a:r>
              <a:rPr lang="en-US"/>
              <a:t> cum </a:t>
            </a:r>
            <a:r>
              <a:rPr lang="en-US" err="1"/>
              <a:t>risus</a:t>
            </a:r>
            <a:r>
              <a:rPr lang="en-US"/>
              <a:t> dolor consequat </a:t>
            </a:r>
            <a:r>
              <a:rPr lang="en-US" err="1"/>
              <a:t>imperdiet</a:t>
            </a:r>
            <a:r>
              <a:rPr lang="en-US"/>
              <a:t> </a:t>
            </a:r>
            <a:r>
              <a:rPr lang="en-US" err="1"/>
              <a:t>aliquam</a:t>
            </a:r>
            <a:r>
              <a:rPr lang="en-US"/>
              <a:t>, integer </a:t>
            </a:r>
            <a:r>
              <a:rPr lang="en-US" err="1"/>
              <a:t>placerat</a:t>
            </a:r>
            <a:r>
              <a:rPr lang="en-US"/>
              <a:t> et </a:t>
            </a:r>
            <a:r>
              <a:rPr lang="en-US" err="1"/>
              <a:t>turpis</a:t>
            </a:r>
            <a:r>
              <a:rPr lang="en-US"/>
              <a:t> mi eros </a:t>
            </a:r>
            <a:r>
              <a:rPr lang="en-US" err="1"/>
              <a:t>nec</a:t>
            </a:r>
            <a:r>
              <a:rPr lang="en-US"/>
              <a:t> </a:t>
            </a:r>
            <a:r>
              <a:rPr lang="en-US" err="1"/>
              <a:t>lobortis</a:t>
            </a:r>
            <a:r>
              <a:rPr lang="en-US"/>
              <a:t> </a:t>
            </a:r>
            <a:r>
              <a:rPr lang="en-US" err="1"/>
              <a:t>taciti</a:t>
            </a:r>
            <a:r>
              <a:rPr lang="en-US"/>
              <a:t>, </a:t>
            </a:r>
            <a:r>
              <a:rPr lang="en-US" err="1"/>
              <a:t>vehicula</a:t>
            </a:r>
            <a:r>
              <a:rPr lang="en-US"/>
              <a:t> </a:t>
            </a:r>
            <a:r>
              <a:rPr lang="en-US" err="1"/>
              <a:t>nisl</a:t>
            </a:r>
            <a:r>
              <a:rPr lang="en-US"/>
              <a:t> </a:t>
            </a:r>
            <a:r>
              <a:rPr lang="en-US" err="1"/>
              <a:t>litora</a:t>
            </a:r>
            <a:r>
              <a:rPr lang="en-US"/>
              <a:t> </a:t>
            </a:r>
            <a:r>
              <a:rPr lang="en-US" err="1"/>
              <a:t>tellus</a:t>
            </a:r>
            <a:r>
              <a:rPr lang="en-US"/>
              <a:t> ligula </a:t>
            </a:r>
            <a:r>
              <a:rPr lang="en-US" err="1"/>
              <a:t>porttitor</a:t>
            </a:r>
            <a:r>
              <a:rPr lang="en-US"/>
              <a:t> </a:t>
            </a:r>
            <a:r>
              <a:rPr lang="en-US" err="1"/>
              <a:t>metus</a:t>
            </a:r>
            <a:r>
              <a:rPr lang="en-US"/>
              <a:t>. </a:t>
            </a:r>
          </a:p>
        </p:txBody>
      </p:sp>
    </p:spTree>
    <p:extLst>
      <p:ext uri="{BB962C8B-B14F-4D97-AF65-F5344CB8AC3E}">
        <p14:creationId xmlns:p14="http://schemas.microsoft.com/office/powerpoint/2010/main" val="2112297389"/>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3_Title and Subhead: No Content">
    <p:spTree>
      <p:nvGrpSpPr>
        <p:cNvPr id="1" name=""/>
        <p:cNvGrpSpPr/>
        <p:nvPr/>
      </p:nvGrpSpPr>
      <p:grpSpPr>
        <a:xfrm>
          <a:off x="0" y="0"/>
          <a:ext cx="0" cy="0"/>
          <a:chOff x="0" y="0"/>
          <a:chExt cx="0" cy="0"/>
        </a:xfrm>
      </p:grpSpPr>
      <p:sp>
        <p:nvSpPr>
          <p:cNvPr id="5" name="Text Placeholder 14">
            <a:extLst>
              <a:ext uri="{FF2B5EF4-FFF2-40B4-BE49-F238E27FC236}">
                <a16:creationId xmlns:a16="http://schemas.microsoft.com/office/drawing/2014/main" id="{D69C416E-9075-464C-BBB9-6428A92B9915}"/>
              </a:ext>
            </a:extLst>
          </p:cNvPr>
          <p:cNvSpPr>
            <a:spLocks noGrp="1"/>
          </p:cNvSpPr>
          <p:nvPr>
            <p:ph type="body" sz="quarter" idx="22" hasCustomPrompt="1"/>
          </p:nvPr>
        </p:nvSpPr>
        <p:spPr>
          <a:xfrm>
            <a:off x="914400" y="2421166"/>
            <a:ext cx="4838700" cy="3680531"/>
          </a:xfrm>
        </p:spPr>
        <p:txBody>
          <a:bodyPr/>
          <a:lstStyle>
            <a:lvl1pPr>
              <a:defRPr>
                <a:latin typeface="Calibri Light" panose="020F0302020204030204" pitchFamily="34" charset="0"/>
                <a:cs typeface="Calibri Light" panose="020F0302020204030204" pitchFamily="34" charset="0"/>
              </a:defRPr>
            </a:lvl1pPr>
          </a:lstStyle>
          <a:p>
            <a:pPr lvl="0"/>
            <a:r>
              <a:rPr lang="en-US"/>
              <a:t>Lorem ipsum dolor sit amet consectetur adipiscing elit, </a:t>
            </a:r>
            <a:r>
              <a:rPr lang="en-US" err="1"/>
              <a:t>urna</a:t>
            </a:r>
            <a:r>
              <a:rPr lang="en-US"/>
              <a:t> consequat </a:t>
            </a:r>
            <a:r>
              <a:rPr lang="en-US" err="1"/>
              <a:t>felis</a:t>
            </a:r>
            <a:r>
              <a:rPr lang="en-US"/>
              <a:t> </a:t>
            </a:r>
            <a:r>
              <a:rPr lang="en-US" err="1"/>
              <a:t>vehicula</a:t>
            </a:r>
            <a:r>
              <a:rPr lang="en-US"/>
              <a:t> class </a:t>
            </a:r>
            <a:r>
              <a:rPr lang="en-US" err="1"/>
              <a:t>ultricies</a:t>
            </a:r>
            <a:r>
              <a:rPr lang="en-US"/>
              <a:t> </a:t>
            </a:r>
            <a:r>
              <a:rPr lang="en-US" err="1"/>
              <a:t>mollis</a:t>
            </a:r>
            <a:r>
              <a:rPr lang="en-US"/>
              <a:t> </a:t>
            </a:r>
            <a:r>
              <a:rPr lang="en-US" err="1"/>
              <a:t>dictumst</a:t>
            </a:r>
            <a:r>
              <a:rPr lang="en-US"/>
              <a:t>, </a:t>
            </a:r>
            <a:r>
              <a:rPr lang="en-US" err="1"/>
              <a:t>aenean</a:t>
            </a:r>
            <a:r>
              <a:rPr lang="en-US"/>
              <a:t> non a in </a:t>
            </a:r>
            <a:r>
              <a:rPr lang="en-US" err="1"/>
              <a:t>donec</a:t>
            </a:r>
            <a:r>
              <a:rPr lang="en-US"/>
              <a:t> </a:t>
            </a:r>
            <a:r>
              <a:rPr lang="en-US" err="1"/>
              <a:t>nulla.Etu</a:t>
            </a:r>
            <a:r>
              <a:rPr lang="en-US"/>
              <a:t> </a:t>
            </a:r>
            <a:r>
              <a:rPr lang="en-US" err="1"/>
              <a:t>phasellus</a:t>
            </a:r>
            <a:r>
              <a:rPr lang="en-US"/>
              <a:t> ante </a:t>
            </a:r>
            <a:r>
              <a:rPr lang="en-US" err="1"/>
              <a:t>pellentesque</a:t>
            </a:r>
            <a:r>
              <a:rPr lang="en-US"/>
              <a:t> </a:t>
            </a:r>
            <a:r>
              <a:rPr lang="en-US" err="1"/>
              <a:t>erat</a:t>
            </a:r>
            <a:r>
              <a:rPr lang="en-US"/>
              <a:t> cum </a:t>
            </a:r>
            <a:r>
              <a:rPr lang="en-US" err="1"/>
              <a:t>risus</a:t>
            </a:r>
            <a:r>
              <a:rPr lang="en-US"/>
              <a:t> dolor consequat </a:t>
            </a:r>
            <a:r>
              <a:rPr lang="en-US" err="1"/>
              <a:t>imperdiet</a:t>
            </a:r>
            <a:r>
              <a:rPr lang="en-US"/>
              <a:t> </a:t>
            </a:r>
            <a:r>
              <a:rPr lang="en-US" err="1"/>
              <a:t>aliquam</a:t>
            </a:r>
            <a:r>
              <a:rPr lang="en-US"/>
              <a:t>, integer </a:t>
            </a:r>
            <a:r>
              <a:rPr lang="en-US" err="1"/>
              <a:t>placerat</a:t>
            </a:r>
            <a:r>
              <a:rPr lang="en-US"/>
              <a:t> et </a:t>
            </a:r>
            <a:r>
              <a:rPr lang="en-US" err="1"/>
              <a:t>turpis</a:t>
            </a:r>
            <a:r>
              <a:rPr lang="en-US"/>
              <a:t> mi eros </a:t>
            </a:r>
            <a:r>
              <a:rPr lang="en-US" err="1"/>
              <a:t>nec</a:t>
            </a:r>
            <a:r>
              <a:rPr lang="en-US"/>
              <a:t> </a:t>
            </a:r>
            <a:r>
              <a:rPr lang="en-US" err="1"/>
              <a:t>lobortis</a:t>
            </a:r>
            <a:r>
              <a:rPr lang="en-US"/>
              <a:t> </a:t>
            </a:r>
            <a:r>
              <a:rPr lang="en-US" err="1"/>
              <a:t>taciti</a:t>
            </a:r>
            <a:r>
              <a:rPr lang="en-US"/>
              <a:t>, </a:t>
            </a:r>
            <a:r>
              <a:rPr lang="en-US" err="1"/>
              <a:t>vehicula</a:t>
            </a:r>
            <a:r>
              <a:rPr lang="en-US"/>
              <a:t> </a:t>
            </a:r>
            <a:r>
              <a:rPr lang="en-US" err="1"/>
              <a:t>nisl</a:t>
            </a:r>
            <a:r>
              <a:rPr lang="en-US"/>
              <a:t> </a:t>
            </a:r>
            <a:r>
              <a:rPr lang="en-US" err="1"/>
              <a:t>litora</a:t>
            </a:r>
            <a:r>
              <a:rPr lang="en-US"/>
              <a:t> </a:t>
            </a:r>
            <a:r>
              <a:rPr lang="en-US" err="1"/>
              <a:t>tellus</a:t>
            </a:r>
            <a:r>
              <a:rPr lang="en-US"/>
              <a:t> ligula </a:t>
            </a:r>
            <a:r>
              <a:rPr lang="en-US" err="1"/>
              <a:t>porttitor</a:t>
            </a:r>
            <a:r>
              <a:rPr lang="en-US"/>
              <a:t> </a:t>
            </a:r>
            <a:r>
              <a:rPr lang="en-US" err="1"/>
              <a:t>metus</a:t>
            </a:r>
            <a:r>
              <a:rPr lang="en-US"/>
              <a:t>. </a:t>
            </a:r>
          </a:p>
        </p:txBody>
      </p:sp>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US" noProof="0"/>
              <a:t>Click to edit Master title s edit Master title style tyle</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914400" y="1184239"/>
            <a:ext cx="103251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
        <p:nvSpPr>
          <p:cNvPr id="10" name="Chart Placeholder 6">
            <a:extLst>
              <a:ext uri="{FF2B5EF4-FFF2-40B4-BE49-F238E27FC236}">
                <a16:creationId xmlns:a16="http://schemas.microsoft.com/office/drawing/2014/main" id="{E3E31A44-950F-498B-9F6E-EBFFA666D994}"/>
              </a:ext>
            </a:extLst>
          </p:cNvPr>
          <p:cNvSpPr>
            <a:spLocks noGrp="1"/>
          </p:cNvSpPr>
          <p:nvPr>
            <p:ph type="chart" sz="quarter" idx="24"/>
          </p:nvPr>
        </p:nvSpPr>
        <p:spPr>
          <a:xfrm>
            <a:off x="6400800" y="2421166"/>
            <a:ext cx="4838700" cy="3681184"/>
          </a:xfrm>
        </p:spPr>
        <p:txBody>
          <a:bodyPr/>
          <a:lstStyle/>
          <a:p>
            <a:endParaRPr lang="en-US"/>
          </a:p>
        </p:txBody>
      </p:sp>
    </p:spTree>
    <p:extLst>
      <p:ext uri="{BB962C8B-B14F-4D97-AF65-F5344CB8AC3E}">
        <p14:creationId xmlns:p14="http://schemas.microsoft.com/office/powerpoint/2010/main" val="1132392547"/>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and Subhead: No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p>
            <a:r>
              <a:rPr lang="en-US" noProof="0"/>
              <a:t>Click to edit Master title s edit Master title style tyle</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914400" y="1184239"/>
            <a:ext cx="103251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
        <p:nvSpPr>
          <p:cNvPr id="6" name="Text Placeholder 5">
            <a:extLst>
              <a:ext uri="{FF2B5EF4-FFF2-40B4-BE49-F238E27FC236}">
                <a16:creationId xmlns:a16="http://schemas.microsoft.com/office/drawing/2014/main" id="{4FF776ED-0A88-4D29-B05A-7475E8C2E550}"/>
              </a:ext>
            </a:extLst>
          </p:cNvPr>
          <p:cNvSpPr>
            <a:spLocks noGrp="1"/>
          </p:cNvSpPr>
          <p:nvPr>
            <p:ph type="body" sz="quarter" idx="15" hasCustomPrompt="1"/>
          </p:nvPr>
        </p:nvSpPr>
        <p:spPr>
          <a:xfrm>
            <a:off x="4514850" y="2156948"/>
            <a:ext cx="2867025" cy="215444"/>
          </a:xfrm>
        </p:spPr>
        <p:txBody>
          <a:bodyPr>
            <a:spAutoFit/>
          </a:bodyPr>
          <a:lstStyle>
            <a:lvl1pPr>
              <a:defRPr sz="1400"/>
            </a:lvl1pPr>
          </a:lstStyle>
          <a:p>
            <a:pPr lvl="0"/>
            <a:r>
              <a:rPr lang="en-US"/>
              <a:t>Heading</a:t>
            </a:r>
          </a:p>
        </p:txBody>
      </p:sp>
      <p:sp>
        <p:nvSpPr>
          <p:cNvPr id="8" name="Text Placeholder 5">
            <a:extLst>
              <a:ext uri="{FF2B5EF4-FFF2-40B4-BE49-F238E27FC236}">
                <a16:creationId xmlns:a16="http://schemas.microsoft.com/office/drawing/2014/main" id="{A425A2E8-C38F-44DF-B721-C500AB473B71}"/>
              </a:ext>
            </a:extLst>
          </p:cNvPr>
          <p:cNvSpPr>
            <a:spLocks noGrp="1"/>
          </p:cNvSpPr>
          <p:nvPr>
            <p:ph type="body" sz="quarter" idx="16" hasCustomPrompt="1"/>
          </p:nvPr>
        </p:nvSpPr>
        <p:spPr>
          <a:xfrm>
            <a:off x="4514850" y="2403913"/>
            <a:ext cx="2867025" cy="1079398"/>
          </a:xfrm>
        </p:spPr>
        <p:txBody>
          <a:bodyPr vert="horz" lIns="0" tIns="0" rIns="0" bIns="0" rtlCol="0">
            <a:spAutoFit/>
          </a:bodyPr>
          <a:lstStyle>
            <a:lvl1pPr>
              <a:defRPr lang="en-US" sz="1400" noProof="0" dirty="0"/>
            </a:lvl1pPr>
          </a:lstStyle>
          <a:p>
            <a:pPr marR="0" lvl="0" fontAlgn="auto">
              <a:lnSpc>
                <a:spcPct val="150000"/>
              </a:lnSpc>
              <a:spcAft>
                <a:spcPts val="0"/>
              </a:spcAft>
              <a:buClrTx/>
              <a:buSzTx/>
              <a:tabLst/>
            </a:pPr>
            <a:r>
              <a:rPr kumimoji="0" lang="en-US" sz="1200" b="0" i="0" u="none" strike="noStrike" kern="1200" cap="none" spc="0" normalizeH="0" baseline="0" noProof="0">
                <a:ln>
                  <a:noFill/>
                </a:ln>
                <a:solidFill>
                  <a:prstClr val="black"/>
                </a:solidFill>
                <a:effectLst/>
                <a:uLnTx/>
                <a:uFillTx/>
                <a:latin typeface="Calibri Light" panose="020F0302020204030204" pitchFamily="34" charset="0"/>
                <a:ea typeface="Open Sans Light" panose="020B0306030504020204" pitchFamily="34" charset="0"/>
                <a:cs typeface="Calibri Light" panose="020F0302020204030204" pitchFamily="34" charset="0"/>
              </a:rPr>
              <a:t>Lorem Ipsum has been the industry's standard dummy text ever since the 1500s, when an unknown printer took a galley of type and scrambled it to make a type specimen book.</a:t>
            </a:r>
          </a:p>
        </p:txBody>
      </p:sp>
      <p:sp>
        <p:nvSpPr>
          <p:cNvPr id="10" name="Text Placeholder 5">
            <a:extLst>
              <a:ext uri="{FF2B5EF4-FFF2-40B4-BE49-F238E27FC236}">
                <a16:creationId xmlns:a16="http://schemas.microsoft.com/office/drawing/2014/main" id="{DDBC2011-E138-4047-AE3C-947A509D0E66}"/>
              </a:ext>
            </a:extLst>
          </p:cNvPr>
          <p:cNvSpPr>
            <a:spLocks noGrp="1"/>
          </p:cNvSpPr>
          <p:nvPr>
            <p:ph type="body" sz="quarter" idx="17" hasCustomPrompt="1"/>
          </p:nvPr>
        </p:nvSpPr>
        <p:spPr>
          <a:xfrm>
            <a:off x="8372475" y="2156948"/>
            <a:ext cx="2867025" cy="215444"/>
          </a:xfrm>
        </p:spPr>
        <p:txBody>
          <a:bodyPr>
            <a:spAutoFit/>
          </a:bodyPr>
          <a:lstStyle>
            <a:lvl1pPr>
              <a:defRPr sz="1400"/>
            </a:lvl1pPr>
          </a:lstStyle>
          <a:p>
            <a:pPr lvl="0"/>
            <a:r>
              <a:rPr lang="en-US"/>
              <a:t>Heading</a:t>
            </a:r>
          </a:p>
        </p:txBody>
      </p:sp>
      <p:sp>
        <p:nvSpPr>
          <p:cNvPr id="11" name="Text Placeholder 5">
            <a:extLst>
              <a:ext uri="{FF2B5EF4-FFF2-40B4-BE49-F238E27FC236}">
                <a16:creationId xmlns:a16="http://schemas.microsoft.com/office/drawing/2014/main" id="{78576606-2BB3-4143-96CD-F96FEDC9B18D}"/>
              </a:ext>
            </a:extLst>
          </p:cNvPr>
          <p:cNvSpPr>
            <a:spLocks noGrp="1"/>
          </p:cNvSpPr>
          <p:nvPr>
            <p:ph type="body" sz="quarter" idx="18" hasCustomPrompt="1"/>
          </p:nvPr>
        </p:nvSpPr>
        <p:spPr>
          <a:xfrm>
            <a:off x="8372475" y="2403913"/>
            <a:ext cx="2867025" cy="1079398"/>
          </a:xfrm>
        </p:spPr>
        <p:txBody>
          <a:bodyPr vert="horz" lIns="0" tIns="0" rIns="0" bIns="0" rtlCol="0">
            <a:spAutoFit/>
          </a:bodyPr>
          <a:lstStyle>
            <a:lvl1pPr>
              <a:defRPr lang="en-US" sz="1400" noProof="0" dirty="0"/>
            </a:lvl1pPr>
          </a:lstStyle>
          <a:p>
            <a:pPr marR="0" lvl="0" fontAlgn="auto">
              <a:lnSpc>
                <a:spcPct val="150000"/>
              </a:lnSpc>
              <a:spcAft>
                <a:spcPts val="0"/>
              </a:spcAft>
              <a:buClrTx/>
              <a:buSzTx/>
              <a:tabLst/>
            </a:pPr>
            <a:r>
              <a:rPr kumimoji="0" lang="en-US" sz="1200" b="0" i="0" u="none" strike="noStrike" kern="1200" cap="none" spc="0" normalizeH="0" baseline="0" noProof="0">
                <a:ln>
                  <a:noFill/>
                </a:ln>
                <a:solidFill>
                  <a:prstClr val="black"/>
                </a:solidFill>
                <a:effectLst/>
                <a:uLnTx/>
                <a:uFillTx/>
                <a:latin typeface="Calibri Light" panose="020F0302020204030204" pitchFamily="34" charset="0"/>
                <a:ea typeface="Open Sans Light" panose="020B0306030504020204" pitchFamily="34" charset="0"/>
                <a:cs typeface="Calibri Light" panose="020F0302020204030204" pitchFamily="34" charset="0"/>
              </a:rPr>
              <a:t>Lorem Ipsum has been the industry's standard dummy text ever since the 1500s, when an unknown printer took a galley of type and scrambled it to make a type specimen book.</a:t>
            </a:r>
          </a:p>
        </p:txBody>
      </p:sp>
      <p:sp>
        <p:nvSpPr>
          <p:cNvPr id="12" name="Text Placeholder 5">
            <a:extLst>
              <a:ext uri="{FF2B5EF4-FFF2-40B4-BE49-F238E27FC236}">
                <a16:creationId xmlns:a16="http://schemas.microsoft.com/office/drawing/2014/main" id="{1D7E1E31-A749-4C85-B76D-C51942836FEC}"/>
              </a:ext>
            </a:extLst>
          </p:cNvPr>
          <p:cNvSpPr>
            <a:spLocks noGrp="1"/>
          </p:cNvSpPr>
          <p:nvPr>
            <p:ph type="body" sz="quarter" idx="19" hasCustomPrompt="1"/>
          </p:nvPr>
        </p:nvSpPr>
        <p:spPr>
          <a:xfrm>
            <a:off x="4514850" y="4119098"/>
            <a:ext cx="2867025" cy="215444"/>
          </a:xfrm>
        </p:spPr>
        <p:txBody>
          <a:bodyPr>
            <a:spAutoFit/>
          </a:bodyPr>
          <a:lstStyle>
            <a:lvl1pPr>
              <a:defRPr sz="1400"/>
            </a:lvl1pPr>
          </a:lstStyle>
          <a:p>
            <a:pPr lvl="0"/>
            <a:r>
              <a:rPr lang="en-US"/>
              <a:t>Heading</a:t>
            </a:r>
          </a:p>
        </p:txBody>
      </p:sp>
      <p:sp>
        <p:nvSpPr>
          <p:cNvPr id="13" name="Text Placeholder 5">
            <a:extLst>
              <a:ext uri="{FF2B5EF4-FFF2-40B4-BE49-F238E27FC236}">
                <a16:creationId xmlns:a16="http://schemas.microsoft.com/office/drawing/2014/main" id="{0D524788-21CD-4D17-999E-1E6AA2543441}"/>
              </a:ext>
            </a:extLst>
          </p:cNvPr>
          <p:cNvSpPr>
            <a:spLocks noGrp="1"/>
          </p:cNvSpPr>
          <p:nvPr>
            <p:ph type="body" sz="quarter" idx="20" hasCustomPrompt="1"/>
          </p:nvPr>
        </p:nvSpPr>
        <p:spPr>
          <a:xfrm>
            <a:off x="4514850" y="4366063"/>
            <a:ext cx="2867025" cy="1079398"/>
          </a:xfrm>
        </p:spPr>
        <p:txBody>
          <a:bodyPr vert="horz" lIns="0" tIns="0" rIns="0" bIns="0" rtlCol="0">
            <a:spAutoFit/>
          </a:bodyPr>
          <a:lstStyle>
            <a:lvl1pPr>
              <a:defRPr lang="en-US" sz="1400" noProof="0" dirty="0"/>
            </a:lvl1pPr>
          </a:lstStyle>
          <a:p>
            <a:pPr marR="0" lvl="0" fontAlgn="auto">
              <a:lnSpc>
                <a:spcPct val="150000"/>
              </a:lnSpc>
              <a:spcAft>
                <a:spcPts val="0"/>
              </a:spcAft>
              <a:buClrTx/>
              <a:buSzTx/>
              <a:tabLst/>
            </a:pPr>
            <a:r>
              <a:rPr kumimoji="0" lang="en-US" sz="1200" b="0" i="0" u="none" strike="noStrike" kern="1200" cap="none" spc="0" normalizeH="0" baseline="0" noProof="0">
                <a:ln>
                  <a:noFill/>
                </a:ln>
                <a:solidFill>
                  <a:prstClr val="black"/>
                </a:solidFill>
                <a:effectLst/>
                <a:uLnTx/>
                <a:uFillTx/>
                <a:latin typeface="Calibri Light" panose="020F0302020204030204" pitchFamily="34" charset="0"/>
                <a:ea typeface="Open Sans Light" panose="020B0306030504020204" pitchFamily="34" charset="0"/>
                <a:cs typeface="Calibri Light" panose="020F0302020204030204" pitchFamily="34" charset="0"/>
              </a:rPr>
              <a:t>Lorem Ipsum has been the industry's standard dummy text ever since the 1500s, when an unknown printer took a galley of type and scrambled it to make a type specimen book.</a:t>
            </a:r>
          </a:p>
        </p:txBody>
      </p:sp>
      <p:sp>
        <p:nvSpPr>
          <p:cNvPr id="14" name="Text Placeholder 5">
            <a:extLst>
              <a:ext uri="{FF2B5EF4-FFF2-40B4-BE49-F238E27FC236}">
                <a16:creationId xmlns:a16="http://schemas.microsoft.com/office/drawing/2014/main" id="{9C7D2701-726A-4058-8DA1-DA388FEB31BB}"/>
              </a:ext>
            </a:extLst>
          </p:cNvPr>
          <p:cNvSpPr>
            <a:spLocks noGrp="1"/>
          </p:cNvSpPr>
          <p:nvPr>
            <p:ph type="body" sz="quarter" idx="21" hasCustomPrompt="1"/>
          </p:nvPr>
        </p:nvSpPr>
        <p:spPr>
          <a:xfrm>
            <a:off x="8372475" y="4119098"/>
            <a:ext cx="2867025" cy="215444"/>
          </a:xfrm>
        </p:spPr>
        <p:txBody>
          <a:bodyPr>
            <a:spAutoFit/>
          </a:bodyPr>
          <a:lstStyle>
            <a:lvl1pPr>
              <a:defRPr sz="1400"/>
            </a:lvl1pPr>
          </a:lstStyle>
          <a:p>
            <a:pPr lvl="0"/>
            <a:r>
              <a:rPr lang="en-US"/>
              <a:t>Heading</a:t>
            </a:r>
          </a:p>
        </p:txBody>
      </p:sp>
      <p:sp>
        <p:nvSpPr>
          <p:cNvPr id="15" name="Text Placeholder 5">
            <a:extLst>
              <a:ext uri="{FF2B5EF4-FFF2-40B4-BE49-F238E27FC236}">
                <a16:creationId xmlns:a16="http://schemas.microsoft.com/office/drawing/2014/main" id="{96202E16-6D4E-4FD2-B014-B3C8205E142D}"/>
              </a:ext>
            </a:extLst>
          </p:cNvPr>
          <p:cNvSpPr>
            <a:spLocks noGrp="1"/>
          </p:cNvSpPr>
          <p:nvPr>
            <p:ph type="body" sz="quarter" idx="22" hasCustomPrompt="1"/>
          </p:nvPr>
        </p:nvSpPr>
        <p:spPr>
          <a:xfrm>
            <a:off x="8372475" y="4366063"/>
            <a:ext cx="2867025" cy="1079398"/>
          </a:xfrm>
        </p:spPr>
        <p:txBody>
          <a:bodyPr vert="horz" lIns="0" tIns="0" rIns="0" bIns="0" rtlCol="0">
            <a:spAutoFit/>
          </a:bodyPr>
          <a:lstStyle>
            <a:lvl1pPr>
              <a:defRPr lang="en-US" sz="1400" noProof="0" dirty="0"/>
            </a:lvl1pPr>
          </a:lstStyle>
          <a:p>
            <a:pPr marR="0" lvl="0" fontAlgn="auto">
              <a:lnSpc>
                <a:spcPct val="150000"/>
              </a:lnSpc>
              <a:spcAft>
                <a:spcPts val="0"/>
              </a:spcAft>
              <a:buClrTx/>
              <a:buSzTx/>
              <a:tabLst/>
            </a:pPr>
            <a:r>
              <a:rPr kumimoji="0" lang="en-US" sz="1200" b="0" i="0" u="none" strike="noStrike" kern="1200" cap="none" spc="0" normalizeH="0" baseline="0" noProof="0">
                <a:ln>
                  <a:noFill/>
                </a:ln>
                <a:solidFill>
                  <a:prstClr val="black"/>
                </a:solidFill>
                <a:effectLst/>
                <a:uLnTx/>
                <a:uFillTx/>
                <a:latin typeface="Calibri Light" panose="020F0302020204030204" pitchFamily="34" charset="0"/>
                <a:ea typeface="Open Sans Light" panose="020B0306030504020204" pitchFamily="34" charset="0"/>
                <a:cs typeface="Calibri Light" panose="020F0302020204030204" pitchFamily="34" charset="0"/>
              </a:rPr>
              <a:t>Lorem Ipsum has been the industry's standard dummy text ever since the 1500s, when an unknown printer took a galley of type and scrambled it to make a type specimen book.</a:t>
            </a:r>
          </a:p>
        </p:txBody>
      </p:sp>
    </p:spTree>
    <p:extLst>
      <p:ext uri="{BB962C8B-B14F-4D97-AF65-F5344CB8AC3E}">
        <p14:creationId xmlns:p14="http://schemas.microsoft.com/office/powerpoint/2010/main" val="255104827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8217"/>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3" name="Copyright">
            <a:extLst>
              <a:ext uri="{FF2B5EF4-FFF2-40B4-BE49-F238E27FC236}">
                <a16:creationId xmlns:a16="http://schemas.microsoft.com/office/drawing/2014/main" id="{1DC4A35C-6E5F-4D1C-8973-1C29CBAF765E}"/>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CaseCode">
            <a:extLst>
              <a:ext uri="{FF2B5EF4-FFF2-40B4-BE49-F238E27FC236}">
                <a16:creationId xmlns:a16="http://schemas.microsoft.com/office/drawing/2014/main" id="{5B6818A1-3235-4413-9665-6D922B35C666}"/>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TextBox 14">
            <a:extLst>
              <a:ext uri="{FF2B5EF4-FFF2-40B4-BE49-F238E27FC236}">
                <a16:creationId xmlns:a16="http://schemas.microsoft.com/office/drawing/2014/main" id="{CA87CE22-99C8-4AA1-B80A-420B68B7E283}"/>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20728868"/>
      </p:ext>
    </p:extLst>
  </p:cSld>
  <p:clrMapOvr>
    <a:masterClrMapping/>
  </p:clrMapOvr>
  <p:transition>
    <p:fade/>
  </p:transition>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and Subhead: Sidebar">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8EC5EC5A-100A-7147-B3DC-6BBBC38A8B41}"/>
              </a:ext>
            </a:extLst>
          </p:cNvPr>
          <p:cNvSpPr>
            <a:spLocks noGrp="1"/>
          </p:cNvSpPr>
          <p:nvPr>
            <p:ph type="body" sz="quarter" idx="14" hasCustomPrompt="1"/>
          </p:nvPr>
        </p:nvSpPr>
        <p:spPr>
          <a:xfrm>
            <a:off x="914400" y="2959100"/>
            <a:ext cx="3009900" cy="2190750"/>
          </a:xfrm>
        </p:spPr>
        <p:txBody>
          <a:bodyPr wrap="square">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latin typeface="Calibri Light" panose="020F0302020204030204" pitchFamily="34" charset="0"/>
                <a:cs typeface="Calibri Light" panose="020F0302020204030204" pitchFamily="34" charset="0"/>
              </a:defRPr>
            </a:lvl1pPr>
          </a:lstStyle>
          <a:p>
            <a:pPr lvl="0"/>
            <a:r>
              <a:rPr lang="en-US"/>
              <a:t>7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a:t>
            </a:r>
          </a:p>
        </p:txBody>
      </p:sp>
      <p:sp>
        <p:nvSpPr>
          <p:cNvPr id="6" name="Text Placeholder 5">
            <a:extLst>
              <a:ext uri="{FF2B5EF4-FFF2-40B4-BE49-F238E27FC236}">
                <a16:creationId xmlns:a16="http://schemas.microsoft.com/office/drawing/2014/main" id="{1110A1F4-8F2A-B944-8910-489459DDC3B8}"/>
              </a:ext>
            </a:extLst>
          </p:cNvPr>
          <p:cNvSpPr>
            <a:spLocks noGrp="1"/>
          </p:cNvSpPr>
          <p:nvPr>
            <p:ph type="body" sz="quarter" idx="18" hasCustomPrompt="1"/>
          </p:nvPr>
        </p:nvSpPr>
        <p:spPr>
          <a:xfrm>
            <a:off x="914400" y="571500"/>
            <a:ext cx="3009900" cy="2190750"/>
          </a:xfrm>
        </p:spPr>
        <p:txBody>
          <a:bodyPr anchor="b"/>
          <a:lstStyle>
            <a:lvl1pPr>
              <a:lnSpc>
                <a:spcPct val="100000"/>
              </a:lnSpc>
              <a:defRPr sz="2400">
                <a:latin typeface="Calibri Light" panose="020F0302020204030204" pitchFamily="34" charset="0"/>
                <a:cs typeface="Calibri Light" panose="020F0302020204030204" pitchFamily="34" charset="0"/>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a:t>Click to edit slide heading</a:t>
            </a:r>
          </a:p>
        </p:txBody>
      </p:sp>
    </p:spTree>
    <p:extLst>
      <p:ext uri="{BB962C8B-B14F-4D97-AF65-F5344CB8AC3E}">
        <p14:creationId xmlns:p14="http://schemas.microsoft.com/office/powerpoint/2010/main" val="3971001689"/>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and Subhead: No Content - Color Background">
    <p:bg>
      <p:bgPr>
        <a:solidFill>
          <a:schemeClr val="accent3"/>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76A9572A-FD9C-7440-999F-B3ECDB61E826}"/>
              </a:ext>
            </a:extLst>
          </p:cNvPr>
          <p:cNvSpPr>
            <a:spLocks noGrp="1"/>
          </p:cNvSpPr>
          <p:nvPr>
            <p:ph type="title" hasCustomPrompt="1"/>
          </p:nvPr>
        </p:nvSpPr>
        <p:spPr bwMode="gray">
          <a:xfrm>
            <a:off x="914400" y="279400"/>
            <a:ext cx="10325100" cy="787400"/>
          </a:xfrm>
          <a:prstGeom prst="rect">
            <a:avLst/>
          </a:prstGeom>
        </p:spPr>
        <p:txBody>
          <a:bodyPr vert="horz" lIns="0" tIns="0" rIns="0" bIns="0" rtlCol="0" anchor="b" anchorCtr="0">
            <a:noAutofit/>
          </a:bodyPr>
          <a:lstStyle>
            <a:lvl1pPr>
              <a:defRPr>
                <a:solidFill>
                  <a:schemeClr val="bg1"/>
                </a:solidFill>
              </a:defRPr>
            </a:lvl1pPr>
          </a:lstStyle>
          <a:p>
            <a:r>
              <a:rPr lang="en-US" noProof="0"/>
              <a:t>Your headline goes here when you’re ready</a:t>
            </a:r>
          </a:p>
        </p:txBody>
      </p:sp>
      <p:sp>
        <p:nvSpPr>
          <p:cNvPr id="8" name="Text Placeholder 7">
            <a:extLst>
              <a:ext uri="{FF2B5EF4-FFF2-40B4-BE49-F238E27FC236}">
                <a16:creationId xmlns:a16="http://schemas.microsoft.com/office/drawing/2014/main" id="{33B85877-16F3-144E-B5A4-F6A0DADFC9E6}"/>
              </a:ext>
            </a:extLst>
          </p:cNvPr>
          <p:cNvSpPr>
            <a:spLocks noGrp="1"/>
          </p:cNvSpPr>
          <p:nvPr>
            <p:ph type="body" sz="quarter" idx="17" hasCustomPrompt="1"/>
          </p:nvPr>
        </p:nvSpPr>
        <p:spPr>
          <a:xfrm>
            <a:off x="914400" y="1184239"/>
            <a:ext cx="92964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400">
                <a:solidFill>
                  <a:schemeClr val="bg1"/>
                </a:solidFill>
              </a:defRPr>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
        <p:nvSpPr>
          <p:cNvPr id="4" name="Text Placeholder 5">
            <a:extLst>
              <a:ext uri="{FF2B5EF4-FFF2-40B4-BE49-F238E27FC236}">
                <a16:creationId xmlns:a16="http://schemas.microsoft.com/office/drawing/2014/main" id="{29B705B4-11FC-402B-AFF9-1D8AEB0148AD}"/>
              </a:ext>
            </a:extLst>
          </p:cNvPr>
          <p:cNvSpPr>
            <a:spLocks noGrp="1"/>
          </p:cNvSpPr>
          <p:nvPr>
            <p:ph type="body" sz="quarter" idx="15" hasCustomPrompt="1"/>
          </p:nvPr>
        </p:nvSpPr>
        <p:spPr>
          <a:xfrm>
            <a:off x="4514850" y="2156948"/>
            <a:ext cx="2867025" cy="215444"/>
          </a:xfrm>
        </p:spPr>
        <p:txBody>
          <a:bodyPr>
            <a:spAutoFit/>
          </a:bodyPr>
          <a:lstStyle>
            <a:lvl1pPr>
              <a:defRPr sz="1400">
                <a:solidFill>
                  <a:schemeClr val="bg1"/>
                </a:solidFill>
              </a:defRPr>
            </a:lvl1pPr>
          </a:lstStyle>
          <a:p>
            <a:pPr lvl="0"/>
            <a:r>
              <a:rPr lang="en-US"/>
              <a:t>Heading</a:t>
            </a:r>
          </a:p>
        </p:txBody>
      </p:sp>
      <p:sp>
        <p:nvSpPr>
          <p:cNvPr id="6" name="Text Placeholder 5">
            <a:extLst>
              <a:ext uri="{FF2B5EF4-FFF2-40B4-BE49-F238E27FC236}">
                <a16:creationId xmlns:a16="http://schemas.microsoft.com/office/drawing/2014/main" id="{A98D9196-2694-40AD-98E7-CD852350AD63}"/>
              </a:ext>
            </a:extLst>
          </p:cNvPr>
          <p:cNvSpPr>
            <a:spLocks noGrp="1"/>
          </p:cNvSpPr>
          <p:nvPr>
            <p:ph type="body" sz="quarter" idx="16" hasCustomPrompt="1"/>
          </p:nvPr>
        </p:nvSpPr>
        <p:spPr>
          <a:xfrm>
            <a:off x="4514850" y="2403913"/>
            <a:ext cx="2867025" cy="1079398"/>
          </a:xfrm>
        </p:spPr>
        <p:txBody>
          <a:bodyPr>
            <a:spAutoFit/>
          </a:bodyPr>
          <a:lstStyle>
            <a:lvl1pPr marL="0" marR="0" indent="0" algn="l" defTabSz="914400" rtl="0" eaLnBrk="1" fontAlgn="auto" latinLnBrk="0" hangingPunct="1">
              <a:lnSpc>
                <a:spcPct val="150000"/>
              </a:lnSpc>
              <a:spcBef>
                <a:spcPts val="0"/>
              </a:spcBef>
              <a:spcAft>
                <a:spcPts val="0"/>
              </a:spcAft>
              <a:buClrTx/>
              <a:buSzTx/>
              <a:buFontTx/>
              <a:buNone/>
              <a:tabLst/>
              <a:defRPr sz="1400">
                <a:solidFill>
                  <a:schemeClr val="bg1"/>
                </a:solidFill>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pitchFamily="34" charset="0"/>
                <a:ea typeface="Open Sans Light" panose="020B0306030504020204" pitchFamily="34" charset="0"/>
                <a:cs typeface="Calibri Light" panose="020F0302020204030204" pitchFamily="34" charset="0"/>
              </a:rPr>
              <a:t>Lorem Ipsum has been the industry's standard dummy text ever since the 1500s, when an unknown printer took a galley of type and scrambled it to make a type specimen book.</a:t>
            </a:r>
          </a:p>
        </p:txBody>
      </p:sp>
      <p:sp>
        <p:nvSpPr>
          <p:cNvPr id="7" name="Text Placeholder 5">
            <a:extLst>
              <a:ext uri="{FF2B5EF4-FFF2-40B4-BE49-F238E27FC236}">
                <a16:creationId xmlns:a16="http://schemas.microsoft.com/office/drawing/2014/main" id="{E8CAAD25-719D-4FA2-B8C2-CC4327B08271}"/>
              </a:ext>
            </a:extLst>
          </p:cNvPr>
          <p:cNvSpPr>
            <a:spLocks noGrp="1"/>
          </p:cNvSpPr>
          <p:nvPr>
            <p:ph type="body" sz="quarter" idx="18" hasCustomPrompt="1"/>
          </p:nvPr>
        </p:nvSpPr>
        <p:spPr>
          <a:xfrm>
            <a:off x="8372475" y="2156948"/>
            <a:ext cx="2867025" cy="215444"/>
          </a:xfrm>
        </p:spPr>
        <p:txBody>
          <a:bodyPr>
            <a:spAutoFit/>
          </a:bodyPr>
          <a:lstStyle>
            <a:lvl1pPr>
              <a:defRPr sz="1400">
                <a:solidFill>
                  <a:schemeClr val="bg1"/>
                </a:solidFill>
              </a:defRPr>
            </a:lvl1pPr>
          </a:lstStyle>
          <a:p>
            <a:pPr lvl="0"/>
            <a:r>
              <a:rPr lang="en-US"/>
              <a:t>Heading</a:t>
            </a:r>
          </a:p>
        </p:txBody>
      </p:sp>
      <p:sp>
        <p:nvSpPr>
          <p:cNvPr id="9" name="Text Placeholder 5">
            <a:extLst>
              <a:ext uri="{FF2B5EF4-FFF2-40B4-BE49-F238E27FC236}">
                <a16:creationId xmlns:a16="http://schemas.microsoft.com/office/drawing/2014/main" id="{2C8A6C0F-1788-4D02-AE9A-A5DCFF518832}"/>
              </a:ext>
            </a:extLst>
          </p:cNvPr>
          <p:cNvSpPr>
            <a:spLocks noGrp="1"/>
          </p:cNvSpPr>
          <p:nvPr>
            <p:ph type="body" sz="quarter" idx="19" hasCustomPrompt="1"/>
          </p:nvPr>
        </p:nvSpPr>
        <p:spPr>
          <a:xfrm>
            <a:off x="8372475" y="2403913"/>
            <a:ext cx="2867025" cy="1079398"/>
          </a:xfrm>
        </p:spPr>
        <p:txBody>
          <a:bodyPr>
            <a:spAutoFit/>
          </a:bodyPr>
          <a:lstStyle>
            <a:lvl1pPr marL="0" marR="0" indent="0" algn="l" defTabSz="914400" rtl="0" eaLnBrk="1" fontAlgn="auto" latinLnBrk="0" hangingPunct="1">
              <a:lnSpc>
                <a:spcPct val="150000"/>
              </a:lnSpc>
              <a:spcBef>
                <a:spcPts val="0"/>
              </a:spcBef>
              <a:spcAft>
                <a:spcPts val="0"/>
              </a:spcAft>
              <a:buClrTx/>
              <a:buSzTx/>
              <a:buFontTx/>
              <a:buNone/>
              <a:tabLst/>
              <a:defRPr sz="1400">
                <a:solidFill>
                  <a:schemeClr val="bg1"/>
                </a:solidFill>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pitchFamily="34" charset="0"/>
                <a:ea typeface="Open Sans Light" panose="020B0306030504020204" pitchFamily="34" charset="0"/>
                <a:cs typeface="Calibri Light" panose="020F0302020204030204" pitchFamily="34" charset="0"/>
              </a:rPr>
              <a:t>Lorem Ipsum has been the industry's standard dummy text ever since the 1500s, when an unknown printer took a galley of type and scrambled it to make a type specimen book.</a:t>
            </a:r>
          </a:p>
        </p:txBody>
      </p:sp>
      <p:sp>
        <p:nvSpPr>
          <p:cNvPr id="10" name="Text Placeholder 5">
            <a:extLst>
              <a:ext uri="{FF2B5EF4-FFF2-40B4-BE49-F238E27FC236}">
                <a16:creationId xmlns:a16="http://schemas.microsoft.com/office/drawing/2014/main" id="{1B62D44B-9987-42BC-B692-B62137684A40}"/>
              </a:ext>
            </a:extLst>
          </p:cNvPr>
          <p:cNvSpPr>
            <a:spLocks noGrp="1"/>
          </p:cNvSpPr>
          <p:nvPr>
            <p:ph type="body" sz="quarter" idx="20" hasCustomPrompt="1"/>
          </p:nvPr>
        </p:nvSpPr>
        <p:spPr>
          <a:xfrm>
            <a:off x="4514850" y="4119098"/>
            <a:ext cx="2867025" cy="215444"/>
          </a:xfrm>
        </p:spPr>
        <p:txBody>
          <a:bodyPr>
            <a:spAutoFit/>
          </a:bodyPr>
          <a:lstStyle>
            <a:lvl1pPr>
              <a:defRPr sz="1400">
                <a:solidFill>
                  <a:schemeClr val="bg1"/>
                </a:solidFill>
              </a:defRPr>
            </a:lvl1pPr>
          </a:lstStyle>
          <a:p>
            <a:pPr lvl="0"/>
            <a:r>
              <a:rPr lang="en-US"/>
              <a:t>Heading</a:t>
            </a:r>
          </a:p>
        </p:txBody>
      </p:sp>
      <p:sp>
        <p:nvSpPr>
          <p:cNvPr id="11" name="Text Placeholder 5">
            <a:extLst>
              <a:ext uri="{FF2B5EF4-FFF2-40B4-BE49-F238E27FC236}">
                <a16:creationId xmlns:a16="http://schemas.microsoft.com/office/drawing/2014/main" id="{18AED926-74B5-4D6B-B56C-D3752A908404}"/>
              </a:ext>
            </a:extLst>
          </p:cNvPr>
          <p:cNvSpPr>
            <a:spLocks noGrp="1"/>
          </p:cNvSpPr>
          <p:nvPr>
            <p:ph type="body" sz="quarter" idx="21" hasCustomPrompt="1"/>
          </p:nvPr>
        </p:nvSpPr>
        <p:spPr>
          <a:xfrm>
            <a:off x="4514850" y="4366063"/>
            <a:ext cx="2867025" cy="1079398"/>
          </a:xfrm>
        </p:spPr>
        <p:txBody>
          <a:bodyPr>
            <a:spAutoFit/>
          </a:bodyPr>
          <a:lstStyle>
            <a:lvl1pPr marL="0" marR="0" indent="0" algn="l" defTabSz="914400" rtl="0" eaLnBrk="1" fontAlgn="auto" latinLnBrk="0" hangingPunct="1">
              <a:lnSpc>
                <a:spcPct val="150000"/>
              </a:lnSpc>
              <a:spcBef>
                <a:spcPts val="0"/>
              </a:spcBef>
              <a:spcAft>
                <a:spcPts val="0"/>
              </a:spcAft>
              <a:buClrTx/>
              <a:buSzTx/>
              <a:buFontTx/>
              <a:buNone/>
              <a:tabLst/>
              <a:defRPr sz="1400">
                <a:solidFill>
                  <a:schemeClr val="bg1"/>
                </a:solidFill>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pitchFamily="34" charset="0"/>
                <a:ea typeface="Open Sans Light" panose="020B0306030504020204" pitchFamily="34" charset="0"/>
                <a:cs typeface="Calibri Light" panose="020F0302020204030204" pitchFamily="34" charset="0"/>
              </a:rPr>
              <a:t>Lorem Ipsum has been the industry's standard dummy text ever since the 1500s, when an unknown printer took a galley of type and scrambled it to make a type specimen book.</a:t>
            </a:r>
          </a:p>
        </p:txBody>
      </p:sp>
      <p:sp>
        <p:nvSpPr>
          <p:cNvPr id="12" name="Text Placeholder 5">
            <a:extLst>
              <a:ext uri="{FF2B5EF4-FFF2-40B4-BE49-F238E27FC236}">
                <a16:creationId xmlns:a16="http://schemas.microsoft.com/office/drawing/2014/main" id="{99891DBF-2E37-481A-AE54-5FCF62C42F10}"/>
              </a:ext>
            </a:extLst>
          </p:cNvPr>
          <p:cNvSpPr>
            <a:spLocks noGrp="1"/>
          </p:cNvSpPr>
          <p:nvPr>
            <p:ph type="body" sz="quarter" idx="22" hasCustomPrompt="1"/>
          </p:nvPr>
        </p:nvSpPr>
        <p:spPr>
          <a:xfrm>
            <a:off x="8372475" y="4119098"/>
            <a:ext cx="2867025" cy="215444"/>
          </a:xfrm>
        </p:spPr>
        <p:txBody>
          <a:bodyPr>
            <a:spAutoFit/>
          </a:bodyPr>
          <a:lstStyle>
            <a:lvl1pPr>
              <a:defRPr sz="1400">
                <a:solidFill>
                  <a:schemeClr val="bg1"/>
                </a:solidFill>
              </a:defRPr>
            </a:lvl1pPr>
          </a:lstStyle>
          <a:p>
            <a:pPr lvl="0"/>
            <a:r>
              <a:rPr lang="en-US"/>
              <a:t>Heading</a:t>
            </a:r>
          </a:p>
        </p:txBody>
      </p:sp>
      <p:sp>
        <p:nvSpPr>
          <p:cNvPr id="13" name="Text Placeholder 5">
            <a:extLst>
              <a:ext uri="{FF2B5EF4-FFF2-40B4-BE49-F238E27FC236}">
                <a16:creationId xmlns:a16="http://schemas.microsoft.com/office/drawing/2014/main" id="{86796271-57ED-4497-8BA3-5D583A681534}"/>
              </a:ext>
            </a:extLst>
          </p:cNvPr>
          <p:cNvSpPr>
            <a:spLocks noGrp="1"/>
          </p:cNvSpPr>
          <p:nvPr>
            <p:ph type="body" sz="quarter" idx="23" hasCustomPrompt="1"/>
          </p:nvPr>
        </p:nvSpPr>
        <p:spPr>
          <a:xfrm>
            <a:off x="8372475" y="4366063"/>
            <a:ext cx="2867025" cy="1079398"/>
          </a:xfrm>
        </p:spPr>
        <p:txBody>
          <a:bodyPr>
            <a:spAutoFit/>
          </a:bodyPr>
          <a:lstStyle>
            <a:lvl1pPr marL="0" marR="0" indent="0" algn="l" defTabSz="914400" rtl="0" eaLnBrk="1" fontAlgn="auto" latinLnBrk="0" hangingPunct="1">
              <a:lnSpc>
                <a:spcPct val="150000"/>
              </a:lnSpc>
              <a:spcBef>
                <a:spcPts val="0"/>
              </a:spcBef>
              <a:spcAft>
                <a:spcPts val="0"/>
              </a:spcAft>
              <a:buClrTx/>
              <a:buSzTx/>
              <a:buFontTx/>
              <a:buNone/>
              <a:tabLst/>
              <a:defRPr sz="1400">
                <a:solidFill>
                  <a:schemeClr val="bg1"/>
                </a:solidFill>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Light" panose="020F0302020204030204" pitchFamily="34" charset="0"/>
                <a:ea typeface="Open Sans Light" panose="020B0306030504020204" pitchFamily="34" charset="0"/>
                <a:cs typeface="Calibri Light" panose="020F0302020204030204" pitchFamily="34" charset="0"/>
              </a:rPr>
              <a:t>Lorem Ipsum has been the industry's standard dummy text ever since the 1500s, when an unknown printer took a galley of type and scrambled it to make a type specimen book.</a:t>
            </a:r>
          </a:p>
        </p:txBody>
      </p:sp>
    </p:spTree>
    <p:extLst>
      <p:ext uri="{BB962C8B-B14F-4D97-AF65-F5344CB8AC3E}">
        <p14:creationId xmlns:p14="http://schemas.microsoft.com/office/powerpoint/2010/main" val="3944975460"/>
      </p:ext>
    </p:extLst>
  </p:cSld>
  <p:clrMapOvr>
    <a:masterClrMapping/>
  </p:clrMapOvr>
  <p:transition/>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721519" y="393192"/>
            <a:ext cx="10363200" cy="594360"/>
          </a:xfrm>
        </p:spPr>
        <p:txBody>
          <a:bodyPr vert="horz" lIns="0" tIns="45720" rIns="0" bIns="0" rtlCol="0" anchor="b" anchorCtr="0">
            <a:noAutofit/>
          </a:bodyPr>
          <a:lstStyle>
            <a:lvl1pPr>
              <a:defRPr lang="en-US" sz="2400" b="0" spc="-75" dirty="0">
                <a:latin typeface="+mn-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721840" y="1051560"/>
            <a:ext cx="10362880" cy="475488"/>
          </a:xfrm>
        </p:spPr>
        <p:txBody>
          <a:bodyPr vert="horz" lIns="0" tIns="0" rIns="0" bIns="0" rtlCol="0">
            <a:noAutofit/>
          </a:bodyPr>
          <a:lstStyle>
            <a:lvl1pPr marL="0" indent="0">
              <a:buNone/>
              <a:defRPr lang="en-US" sz="2000">
                <a:solidFill>
                  <a:schemeClr val="bg1">
                    <a:lumMod val="50000"/>
                  </a:schemeClr>
                </a:solidFill>
              </a:defRPr>
            </a:lvl1pPr>
          </a:lstStyle>
          <a:p>
            <a:pPr marL="228600" lvl="0" indent="-228600">
              <a:lnSpc>
                <a:spcPct val="130000"/>
              </a:lnSpc>
            </a:pPr>
            <a:r>
              <a:rPr lang="en-US"/>
              <a:t>Click to edit Master text styles</a:t>
            </a:r>
          </a:p>
        </p:txBody>
      </p:sp>
    </p:spTree>
    <p:extLst>
      <p:ext uri="{BB962C8B-B14F-4D97-AF65-F5344CB8AC3E}">
        <p14:creationId xmlns:p14="http://schemas.microsoft.com/office/powerpoint/2010/main" val="226635984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36208699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04AF6108-47E9-489A-A28A-88A6C754FB38}"/>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8980A458-ABD9-40B8-8C0D-269072CDB94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071386E3-7822-4155-91DC-3E38D96ED6CE}"/>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53278362"/>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484F29FA-0A46-4792-A45E-5DE1B223E09B}"/>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12BDD3ED-029E-4AC9-80CA-D3A2FBE9A5A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A6895299-9295-492F-8C31-9744F3FB7A06}"/>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96962565"/>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opyright">
            <a:extLst>
              <a:ext uri="{FF2B5EF4-FFF2-40B4-BE49-F238E27FC236}">
                <a16:creationId xmlns:a16="http://schemas.microsoft.com/office/drawing/2014/main" id="{EC93E963-CFD3-43A9-AE1B-F08B522B4130}"/>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aseCode">
            <a:extLst>
              <a:ext uri="{FF2B5EF4-FFF2-40B4-BE49-F238E27FC236}">
                <a16:creationId xmlns:a16="http://schemas.microsoft.com/office/drawing/2014/main" id="{791BE9BD-85F6-497E-A8D6-CBFF87927B15}"/>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AB538D13-8CB9-4EE1-BCA9-24557BC4F2B2}"/>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8098077"/>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274958" y="684903"/>
            <a:ext cx="11612880"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274958" y="238607"/>
            <a:ext cx="11612880"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Tree>
    <p:extLst>
      <p:ext uri="{BB962C8B-B14F-4D97-AF65-F5344CB8AC3E}">
        <p14:creationId xmlns:p14="http://schemas.microsoft.com/office/powerpoint/2010/main" val="207962552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3297" y="1714500"/>
            <a:ext cx="9323916"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08E5BA7E-93C2-43A2-9267-44AEA65B95C5}"/>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015C4658-A753-4EFC-B4C9-8CC1413F742B}"/>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DEC3538D-DEF3-427C-A22B-D6DED4B4F939}"/>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8898273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42B478C9-B5DA-40CF-85B5-B8255333DF5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13465439-7954-4F6D-A5BA-2445764B064C}"/>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5B993EBE-E0B6-4868-AEFF-D7DAD2DDC7E4}"/>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2417949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D9D178A5-CCC4-4A46-8C47-9A140D4A5CA1}"/>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70B3F7DA-818B-4D8B-B857-2D625878F36E}"/>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4106B75E-593B-4DBE-A922-1C55C945A5EC}"/>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0213205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8A445E98-0101-4641-B761-F6EC62A4C1F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8E6546D8-000E-40B0-BE69-23BCCEC818E9}"/>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C7761B44-F344-440B-8939-9E878C81D0CA}"/>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963999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1202370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sz="120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63296" y="347473"/>
            <a:ext cx="11277600"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4142645382"/>
      </p:ext>
    </p:extLst>
  </p:cSld>
  <p:clrMapOvr>
    <a:masterClrMapping/>
  </p:clrMapOvr>
  <p:transition>
    <p:fade/>
  </p:transition>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3296" y="1714500"/>
            <a:ext cx="9341104" cy="4648200"/>
          </a:xfrm>
          <a:prstGeom prst="rect">
            <a:avLst/>
          </a:prstGeom>
        </p:spPr>
        <p:txBody>
          <a:bodyPr>
            <a:noAutofit/>
          </a:bodyPr>
          <a:lstStyle>
            <a:lvl1pPr marL="0" indent="0" algn="l">
              <a:buFontTx/>
              <a:buNone/>
              <a:tabLst>
                <a:tab pos="5047060" algn="r"/>
              </a:tabLst>
              <a:defRPr sz="1200">
                <a:latin typeface="+mn-lt"/>
              </a:defRPr>
            </a:lvl1pPr>
            <a:lvl2pPr marL="104775" indent="-104775" algn="l">
              <a:buClrTx/>
              <a:buSzPct val="100000"/>
              <a:buFont typeface="Arial" panose="020B0604020202020204" pitchFamily="34" charset="0"/>
              <a:buChar char="•"/>
              <a:tabLst>
                <a:tab pos="5047060" algn="r"/>
              </a:tabLst>
              <a:defRPr sz="1200">
                <a:latin typeface="+mj-lt"/>
              </a:defRPr>
            </a:lvl2pPr>
            <a:lvl3pPr marL="228600" indent="-104775" algn="l">
              <a:buClrTx/>
              <a:buSzPct val="100000"/>
              <a:buFont typeface="Arial" panose="020B0604020202020204" pitchFamily="34" charset="0"/>
              <a:buChar char="−"/>
              <a:tabLst>
                <a:tab pos="5047060" algn="r"/>
              </a:tabLst>
              <a:defRPr sz="1200">
                <a:latin typeface="+mn-lt"/>
              </a:defRPr>
            </a:lvl3pPr>
            <a:lvl4pPr marL="352425" indent="-104775" algn="l">
              <a:buClrTx/>
              <a:buSzPct val="100000"/>
              <a:buFont typeface="Arial" panose="020B0604020202020204" pitchFamily="34" charset="0"/>
              <a:buChar char="◦"/>
              <a:tabLst>
                <a:tab pos="504706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463296" y="347473"/>
            <a:ext cx="11180232"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1412055080"/>
      </p:ext>
    </p:extLst>
  </p:cSld>
  <p:clrMapOvr>
    <a:masterClrMapping/>
  </p:clrMapOvr>
  <p:transition>
    <p:fade/>
  </p:transition>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933144" y="345584"/>
            <a:ext cx="2804160" cy="1027760"/>
          </a:xfrm>
        </p:spPr>
        <p:txBody>
          <a:bodyPr>
            <a:noAutofit/>
          </a:bodyPr>
          <a:lstStyle>
            <a:lvl1pPr>
              <a:spcBef>
                <a:spcPts val="139"/>
              </a:spcBef>
              <a:defRPr sz="8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63296" y="1714500"/>
            <a:ext cx="3549904" cy="4648200"/>
          </a:xfrm>
        </p:spPr>
        <p:txBody>
          <a:bodyPr>
            <a:noAutofit/>
          </a:bodyPr>
          <a:lstStyle>
            <a:lvl1pPr>
              <a:spcBef>
                <a:spcPts val="0"/>
              </a:spcBef>
              <a:spcAft>
                <a:spcPts val="416"/>
              </a:spcAft>
              <a:defRPr sz="12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4318000" y="1719073"/>
            <a:ext cx="7416801" cy="4643628"/>
          </a:xfrm>
        </p:spPr>
        <p:txBody>
          <a:bodyPr>
            <a:noAutofit/>
          </a:bodyPr>
          <a:lstStyle>
            <a:lvl1pPr marL="0" indent="0" algn="l">
              <a:spcBef>
                <a:spcPts val="1247"/>
              </a:spcBef>
              <a:buFontTx/>
              <a:buNone/>
              <a:defRPr sz="1200"/>
            </a:lvl1pPr>
            <a:lvl2pPr marL="104775" indent="-104775" algn="l">
              <a:buClrTx/>
              <a:buSzPct val="100000"/>
              <a:buFont typeface="Arial" panose="020B0604020202020204" pitchFamily="34" charset="0"/>
              <a:buChar char="•"/>
              <a:defRPr sz="1200"/>
            </a:lvl2pPr>
            <a:lvl3pPr marL="228600" indent="-104775" algn="l">
              <a:buClrTx/>
              <a:buSzPct val="100000"/>
              <a:buFont typeface="Arial" panose="020B0604020202020204" pitchFamily="34" charset="0"/>
              <a:buChar char="−"/>
              <a:defRPr sz="1200"/>
            </a:lvl3pPr>
            <a:lvl4pPr marL="352425" indent="-104775" algn="l">
              <a:buClrTx/>
              <a:buSzPct val="100000"/>
              <a:buFont typeface="Arial" panose="020B0604020202020204" pitchFamily="34" charset="0"/>
              <a:buChar char="◦"/>
              <a:defRPr sz="1200"/>
            </a:lvl4pPr>
            <a:lvl5pPr marL="476250" indent="-104775" algn="l">
              <a:buClrTx/>
              <a:buSzPct val="10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8D879EE2-D803-4CB2-AF00-F24E09224D10}"/>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7" name="Oval 5">
              <a:extLst>
                <a:ext uri="{FF2B5EF4-FFF2-40B4-BE49-F238E27FC236}">
                  <a16:creationId xmlns:a16="http://schemas.microsoft.com/office/drawing/2014/main" id="{D45CA835-378D-4289-9657-CD3C1D61435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8" name="Freeform 6">
              <a:extLst>
                <a:ext uri="{FF2B5EF4-FFF2-40B4-BE49-F238E27FC236}">
                  <a16:creationId xmlns:a16="http://schemas.microsoft.com/office/drawing/2014/main" id="{D3810899-A11C-413B-8CBC-D3CFBE3CD80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Rectangle 7">
              <a:extLst>
                <a:ext uri="{FF2B5EF4-FFF2-40B4-BE49-F238E27FC236}">
                  <a16:creationId xmlns:a16="http://schemas.microsoft.com/office/drawing/2014/main" id="{A104677E-C9A9-43FD-9636-282AA4967CC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8">
              <a:extLst>
                <a:ext uri="{FF2B5EF4-FFF2-40B4-BE49-F238E27FC236}">
                  <a16:creationId xmlns:a16="http://schemas.microsoft.com/office/drawing/2014/main" id="{33CAB285-FAC0-4F34-8146-267CBA1B5D9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9">
              <a:extLst>
                <a:ext uri="{FF2B5EF4-FFF2-40B4-BE49-F238E27FC236}">
                  <a16:creationId xmlns:a16="http://schemas.microsoft.com/office/drawing/2014/main" id="{16082ED9-88C5-4736-942C-C7E3CCCA1BE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Rectangle 10">
              <a:extLst>
                <a:ext uri="{FF2B5EF4-FFF2-40B4-BE49-F238E27FC236}">
                  <a16:creationId xmlns:a16="http://schemas.microsoft.com/office/drawing/2014/main" id="{E1E6C516-6C1B-4A02-BB05-4F831D78ECF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Freeform 11">
              <a:extLst>
                <a:ext uri="{FF2B5EF4-FFF2-40B4-BE49-F238E27FC236}">
                  <a16:creationId xmlns:a16="http://schemas.microsoft.com/office/drawing/2014/main" id="{DA6EFC15-17CF-407E-9776-DF518801DE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12">
              <a:extLst>
                <a:ext uri="{FF2B5EF4-FFF2-40B4-BE49-F238E27FC236}">
                  <a16:creationId xmlns:a16="http://schemas.microsoft.com/office/drawing/2014/main" id="{032EBC75-0AB2-4438-90A3-70694DE0F42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3">
              <a:extLst>
                <a:ext uri="{FF2B5EF4-FFF2-40B4-BE49-F238E27FC236}">
                  <a16:creationId xmlns:a16="http://schemas.microsoft.com/office/drawing/2014/main" id="{FC22A38A-F53A-4006-98CB-F2CD2E27610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4">
              <a:extLst>
                <a:ext uri="{FF2B5EF4-FFF2-40B4-BE49-F238E27FC236}">
                  <a16:creationId xmlns:a16="http://schemas.microsoft.com/office/drawing/2014/main" id="{69265903-DE87-4699-A08F-FA3C1B52FB3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1224944780"/>
      </p:ext>
    </p:extLst>
  </p:cSld>
  <p:clrMapOvr>
    <a:masterClrMapping/>
  </p:clrMapOvr>
  <p:transition>
    <p:fade/>
  </p:transition>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63295" y="347472"/>
            <a:ext cx="11228832" cy="698500"/>
          </a:xfrm>
          <a:prstGeom prst="rect">
            <a:avLst/>
          </a:prstGeom>
        </p:spPr>
        <p:txBody>
          <a:bodyPr vert="horz" lIns="0" tIns="0" rIns="0" bIns="0" rtlCol="0" anchor="t" anchorCtr="0">
            <a:noAutofit/>
          </a:bodyPr>
          <a:lstStyle>
            <a:lvl1pPr>
              <a:defRPr sz="2100"/>
            </a:lvl1pPr>
          </a:lstStyle>
          <a:p>
            <a:r>
              <a:rPr lang="en-US" noProof="0"/>
              <a:t>Click to add title</a:t>
            </a:r>
          </a:p>
        </p:txBody>
      </p:sp>
      <p:sp>
        <p:nvSpPr>
          <p:cNvPr id="5" name="Picture Placeholder 9"/>
          <p:cNvSpPr>
            <a:spLocks noGrp="1"/>
          </p:cNvSpPr>
          <p:nvPr>
            <p:ph type="pic" sz="quarter" idx="15"/>
          </p:nvPr>
        </p:nvSpPr>
        <p:spPr>
          <a:xfrm>
            <a:off x="5450351" y="1714500"/>
            <a:ext cx="6240000" cy="4648200"/>
          </a:xfrm>
        </p:spPr>
        <p:txBody>
          <a:bodyPr>
            <a:noAutofit/>
          </a:bodyPr>
          <a:lstStyle>
            <a:lvl1pPr>
              <a:defRPr sz="1200"/>
            </a:lvl1pPr>
          </a:lstStyle>
          <a:p>
            <a:r>
              <a:rPr lang="en-US" noProof="0"/>
              <a:t>Click icon to add picture</a:t>
            </a:r>
          </a:p>
        </p:txBody>
      </p:sp>
      <p:sp>
        <p:nvSpPr>
          <p:cNvPr id="6" name="Content Placeholder 3"/>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94061125"/>
      </p:ext>
    </p:extLst>
  </p:cSld>
  <p:clrMapOvr>
    <a:masterClrMapping/>
  </p:clrMapOvr>
  <p:transition>
    <p:fade/>
  </p:transition>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248404" y="1719072"/>
            <a:ext cx="5486397"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83697044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_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Tree>
    <p:extLst>
      <p:ext uri="{BB962C8B-B14F-4D97-AF65-F5344CB8AC3E}">
        <p14:creationId xmlns:p14="http://schemas.microsoft.com/office/powerpoint/2010/main" val="98878240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87969053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Chart Placeholder 3"/>
          <p:cNvSpPr>
            <a:spLocks noGrp="1"/>
          </p:cNvSpPr>
          <p:nvPr>
            <p:ph type="chart" sz="quarter" idx="15"/>
          </p:nvPr>
        </p:nvSpPr>
        <p:spPr>
          <a:xfrm>
            <a:off x="463296" y="2078281"/>
            <a:ext cx="11271504" cy="4042735"/>
          </a:xfrm>
          <a:prstGeom prst="rect">
            <a:avLst/>
          </a:prstGeom>
        </p:spPr>
        <p:txBody>
          <a:bodyPr>
            <a:noAutofit/>
          </a:bodyPr>
          <a:lstStyle>
            <a:lvl1pPr>
              <a:defRPr sz="1200"/>
            </a:lvl1pPr>
          </a:lstStyle>
          <a:p>
            <a:r>
              <a:rPr lang="en-US"/>
              <a:t>Click icon to add chart</a:t>
            </a:r>
            <a:endParaRPr lang="en-GB"/>
          </a:p>
        </p:txBody>
      </p:sp>
      <p:sp>
        <p:nvSpPr>
          <p:cNvPr id="18" name="Text Placeholder 8"/>
          <p:cNvSpPr>
            <a:spLocks noGrp="1"/>
          </p:cNvSpPr>
          <p:nvPr>
            <p:ph type="body" sz="quarter" idx="18"/>
          </p:nvPr>
        </p:nvSpPr>
        <p:spPr>
          <a:xfrm>
            <a:off x="463296" y="1717263"/>
            <a:ext cx="11271504" cy="357187"/>
          </a:xfrm>
        </p:spPr>
        <p:txBody>
          <a:bodyPr>
            <a:noAutofit/>
          </a:bodyPr>
          <a:lstStyle>
            <a:lvl1pPr>
              <a:defRPr sz="1200"/>
            </a:lvl1pPr>
          </a:lstStyle>
          <a:p>
            <a:pPr lvl="0"/>
            <a:r>
              <a:rPr lang="en-US" noProof="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296954422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200"/>
            </a:lvl1pPr>
          </a:lstStyle>
          <a:p>
            <a:r>
              <a:rPr lang="en-US" noProof="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8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4840754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200"/>
            </a:lvl1pPr>
          </a:lstStyle>
          <a:p>
            <a:r>
              <a:rPr lang="en-US"/>
              <a:t>Click icon to add chart</a:t>
            </a:r>
            <a:endParaRPr lang="en-GB"/>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2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200"/>
            </a:lvl1pPr>
          </a:lstStyle>
          <a:p>
            <a:r>
              <a:rPr lang="en-US"/>
              <a:t>Click icon to add chart</a:t>
            </a:r>
            <a:endParaRPr lang="en-GB"/>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59827672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0560213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40678301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200"/>
            </a:lvl1pPr>
          </a:lstStyle>
          <a:p>
            <a:r>
              <a:rPr lang="en-US" noProof="0"/>
              <a:t>Click icon to add chart</a:t>
            </a:r>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2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200"/>
            </a:lvl1pPr>
          </a:lstStyle>
          <a:p>
            <a:r>
              <a:rPr lang="en-US" noProof="0"/>
              <a:t>Click icon to add chart</a:t>
            </a:r>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2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200"/>
            </a:lvl1pPr>
          </a:lstStyle>
          <a:p>
            <a:r>
              <a:rPr lang="en-US" noProof="0"/>
              <a:t>Click icon to add chart</a:t>
            </a:r>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2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90970343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lvl1pPr>
              <a:defRPr sz="1200"/>
            </a:lvl1pPr>
          </a:lstStyle>
          <a:p>
            <a:r>
              <a:rPr lang="en-US" noProof="0"/>
              <a:t>Click icon to add picture</a:t>
            </a:r>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lvl1pPr>
              <a:defRPr sz="1200"/>
            </a:lvl1pPr>
          </a:lstStyle>
          <a:p>
            <a:r>
              <a:rPr lang="en-US" noProof="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lvl1pPr>
              <a:defRPr sz="1200"/>
            </a:lvl1pPr>
          </a:lstStyle>
          <a:p>
            <a:r>
              <a:rPr lang="en-US" noProof="0"/>
              <a:t>Click icon to add picture</a:t>
            </a:r>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lvl1pPr>
              <a:defRPr sz="1200"/>
            </a:lvl1pPr>
          </a:lstStyle>
          <a:p>
            <a:r>
              <a:rPr lang="en-US" noProof="0"/>
              <a:t>Click icon to add picture</a:t>
            </a:r>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37096855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410440081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61048913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with blue bann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TextBox 8">
            <a:extLst>
              <a:ext uri="{FF2B5EF4-FFF2-40B4-BE49-F238E27FC236}">
                <a16:creationId xmlns:a16="http://schemas.microsoft.com/office/drawing/2014/main" id="{B0F11C41-49D9-42A9-8A0B-755B3FABCBD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B0A78FED-A0B2-4AB3-B296-3210C1430EE9}"/>
              </a:ext>
            </a:extLst>
          </p:cNvPr>
          <p:cNvGrpSpPr/>
          <p:nvPr userDrawn="1"/>
        </p:nvGrpSpPr>
        <p:grpSpPr>
          <a:xfrm rot="10800000">
            <a:off x="-11703" y="-3628"/>
            <a:ext cx="75101" cy="6861628"/>
            <a:chOff x="-11703" y="-3628"/>
            <a:chExt cx="75101" cy="6861628"/>
          </a:xfrm>
        </p:grpSpPr>
        <p:sp>
          <p:nvSpPr>
            <p:cNvPr id="6" name="Rectangle 5">
              <a:extLst>
                <a:ext uri="{FF2B5EF4-FFF2-40B4-BE49-F238E27FC236}">
                  <a16:creationId xmlns:a16="http://schemas.microsoft.com/office/drawing/2014/main" id="{2901E91D-78CF-4CAC-B206-3F302CF40A83}"/>
                </a:ext>
              </a:extLst>
            </p:cNvPr>
            <p:cNvSpPr/>
            <p:nvPr/>
          </p:nvSpPr>
          <p:spPr>
            <a:xfrm rot="5400000">
              <a:off x="-659267" y="645307"/>
              <a:ext cx="1371600" cy="73730"/>
            </a:xfrm>
            <a:prstGeom prst="rect">
              <a:avLst/>
            </a:prstGeom>
            <a:solidFill>
              <a:srgbClr val="0121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3F883E2-03D2-4FC6-A98D-0B4ACF770417}"/>
                </a:ext>
              </a:extLst>
            </p:cNvPr>
            <p:cNvSpPr/>
            <p:nvPr/>
          </p:nvSpPr>
          <p:spPr>
            <a:xfrm rot="5400000">
              <a:off x="-659267" y="2016907"/>
              <a:ext cx="1371600" cy="7373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B500375-334C-408F-8874-18C5D3AC2CCF}"/>
                </a:ext>
              </a:extLst>
            </p:cNvPr>
            <p:cNvSpPr/>
            <p:nvPr/>
          </p:nvSpPr>
          <p:spPr>
            <a:xfrm rot="5400000">
              <a:off x="-659267" y="3388507"/>
              <a:ext cx="1371600" cy="73730"/>
            </a:xfrm>
            <a:prstGeom prst="rect">
              <a:avLst/>
            </a:prstGeom>
            <a:solidFill>
              <a:srgbClr val="0076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F5647E4-D6C0-4AD0-A853-B79FF6CB9442}"/>
                </a:ext>
              </a:extLst>
            </p:cNvPr>
            <p:cNvSpPr/>
            <p:nvPr/>
          </p:nvSpPr>
          <p:spPr>
            <a:xfrm rot="5400000">
              <a:off x="-660638" y="47601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9D4D3DE-98C2-41D8-A322-308E77843A65}"/>
                </a:ext>
              </a:extLst>
            </p:cNvPr>
            <p:cNvSpPr/>
            <p:nvPr/>
          </p:nvSpPr>
          <p:spPr>
            <a:xfrm rot="5400000">
              <a:off x="-660638" y="6135335"/>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ext Placeholder 8">
            <a:extLst>
              <a:ext uri="{FF2B5EF4-FFF2-40B4-BE49-F238E27FC236}">
                <a16:creationId xmlns:a16="http://schemas.microsoft.com/office/drawing/2014/main" id="{881F4BFD-D739-45E9-A5F7-B65C303EBE5B}"/>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7" name="Title Placeholder 1">
            <a:extLst>
              <a:ext uri="{FF2B5EF4-FFF2-40B4-BE49-F238E27FC236}">
                <a16:creationId xmlns:a16="http://schemas.microsoft.com/office/drawing/2014/main" id="{888AA7F6-93E3-47B9-B824-23C23159D8BE}"/>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Tree>
    <p:extLst>
      <p:ext uri="{BB962C8B-B14F-4D97-AF65-F5344CB8AC3E}">
        <p14:creationId xmlns:p14="http://schemas.microsoft.com/office/powerpoint/2010/main" val="2588676482"/>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02786195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amp; subtitle">
    <p:bg>
      <p:bgRef idx="1001">
        <a:schemeClr val="bg1"/>
      </p:bgRef>
    </p:bg>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8" name="TextBox 7">
            <a:extLst>
              <a:ext uri="{FF2B5EF4-FFF2-40B4-BE49-F238E27FC236}">
                <a16:creationId xmlns:a16="http://schemas.microsoft.com/office/drawing/2014/main" id="{3A8CC445-D136-4260-BF5C-0DC01F50508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459594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0000"/>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3" name="CaseCode">
            <a:extLst>
              <a:ext uri="{FF2B5EF4-FFF2-40B4-BE49-F238E27FC236}">
                <a16:creationId xmlns:a16="http://schemas.microsoft.com/office/drawing/2014/main" id="{1F38FEB2-16BD-4957-9E74-380998108783}"/>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AI Strategic Growth Offering</a:t>
            </a:r>
          </a:p>
        </p:txBody>
      </p:sp>
      <p:sp>
        <p:nvSpPr>
          <p:cNvPr id="4" name="Copyright">
            <a:extLst>
              <a:ext uri="{FF2B5EF4-FFF2-40B4-BE49-F238E27FC236}">
                <a16:creationId xmlns:a16="http://schemas.microsoft.com/office/drawing/2014/main" id="{967631AF-4BE3-4B97-9C8A-5E12F3EC59D2}"/>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6" name="TextBox 5">
            <a:extLst>
              <a:ext uri="{FF2B5EF4-FFF2-40B4-BE49-F238E27FC236}">
                <a16:creationId xmlns:a16="http://schemas.microsoft.com/office/drawing/2014/main" id="{F6B86F14-FE91-4EB4-A7F8-8C6FF7604C6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1208377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85218991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338307724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428243773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414853895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0741298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11" name="CaseCode">
            <a:extLst>
              <a:ext uri="{FF2B5EF4-FFF2-40B4-BE49-F238E27FC236}">
                <a16:creationId xmlns:a16="http://schemas.microsoft.com/office/drawing/2014/main" id="{676B7924-6A82-4453-9ABA-42AE71384BDC}"/>
              </a:ext>
            </a:extLst>
          </p:cNvPr>
          <p:cNvSpPr txBox="1"/>
          <p:nvPr userDrawn="1"/>
        </p:nvSpPr>
        <p:spPr>
          <a:xfrm>
            <a:off x="6335184" y="647700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a:t>
            </a:r>
            <a:r>
              <a:rPr lang="en-US" sz="675" noProof="0" err="1">
                <a:solidFill>
                  <a:schemeClr val="bg1"/>
                </a:solidFill>
                <a:latin typeface="Calibri" panose="020F0502020204030204" pitchFamily="34" charset="0"/>
                <a:cs typeface="Calibri" panose="020F0502020204030204" pitchFamily="34" charset="0"/>
              </a:rPr>
              <a:t>Mster</a:t>
            </a:r>
            <a:r>
              <a:rPr lang="en-US" sz="675" noProof="0">
                <a:solidFill>
                  <a:schemeClr val="bg1"/>
                </a:solidFill>
                <a:latin typeface="Calibri" panose="020F0502020204030204" pitchFamily="34" charset="0"/>
                <a:cs typeface="Calibri" panose="020F0502020204030204" pitchFamily="34" charset="0"/>
              </a:rPr>
              <a:t> &gt; Slide Master]</a:t>
            </a: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2969055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326892115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with green bann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TextBox 8">
            <a:extLst>
              <a:ext uri="{FF2B5EF4-FFF2-40B4-BE49-F238E27FC236}">
                <a16:creationId xmlns:a16="http://schemas.microsoft.com/office/drawing/2014/main" id="{B0F11C41-49D9-42A9-8A0B-755B3FABCBD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B0A78FED-A0B2-4AB3-B296-3210C1430EE9}"/>
              </a:ext>
            </a:extLst>
          </p:cNvPr>
          <p:cNvGrpSpPr/>
          <p:nvPr userDrawn="1"/>
        </p:nvGrpSpPr>
        <p:grpSpPr>
          <a:xfrm rot="10800000">
            <a:off x="-11703" y="-3628"/>
            <a:ext cx="75101" cy="6861628"/>
            <a:chOff x="-11703" y="-3628"/>
            <a:chExt cx="75101" cy="6861628"/>
          </a:xfrm>
        </p:grpSpPr>
        <p:sp>
          <p:nvSpPr>
            <p:cNvPr id="6" name="Rectangle 5">
              <a:extLst>
                <a:ext uri="{FF2B5EF4-FFF2-40B4-BE49-F238E27FC236}">
                  <a16:creationId xmlns:a16="http://schemas.microsoft.com/office/drawing/2014/main" id="{2901E91D-78CF-4CAC-B206-3F302CF40A83}"/>
                </a:ext>
              </a:extLst>
            </p:cNvPr>
            <p:cNvSpPr/>
            <p:nvPr/>
          </p:nvSpPr>
          <p:spPr>
            <a:xfrm rot="5400000">
              <a:off x="-659267" y="645307"/>
              <a:ext cx="1371600" cy="737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3F883E2-03D2-4FC6-A98D-0B4ACF770417}"/>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B500375-334C-408F-8874-18C5D3AC2CCF}"/>
                </a:ext>
              </a:extLst>
            </p:cNvPr>
            <p:cNvSpPr/>
            <p:nvPr/>
          </p:nvSpPr>
          <p:spPr>
            <a:xfrm rot="5400000">
              <a:off x="-659267" y="3388507"/>
              <a:ext cx="1371600" cy="73730"/>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F5647E4-D6C0-4AD0-A853-B79FF6CB9442}"/>
                </a:ext>
              </a:extLst>
            </p:cNvPr>
            <p:cNvSpPr/>
            <p:nvPr/>
          </p:nvSpPr>
          <p:spPr>
            <a:xfrm rot="5400000">
              <a:off x="-660638" y="4760107"/>
              <a:ext cx="1371600" cy="73730"/>
            </a:xfrm>
            <a:prstGeom prst="rect">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9D4D3DE-98C2-41D8-A322-308E77843A65}"/>
                </a:ext>
              </a:extLst>
            </p:cNvPr>
            <p:cNvSpPr/>
            <p:nvPr/>
          </p:nvSpPr>
          <p:spPr>
            <a:xfrm rot="5400000">
              <a:off x="-660638" y="6135335"/>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ext Placeholder 8">
            <a:extLst>
              <a:ext uri="{FF2B5EF4-FFF2-40B4-BE49-F238E27FC236}">
                <a16:creationId xmlns:a16="http://schemas.microsoft.com/office/drawing/2014/main" id="{E1F3FF1B-A2E0-4F96-A389-BB2B255F456E}"/>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7" name="Title Placeholder 1">
            <a:extLst>
              <a:ext uri="{FF2B5EF4-FFF2-40B4-BE49-F238E27FC236}">
                <a16:creationId xmlns:a16="http://schemas.microsoft.com/office/drawing/2014/main" id="{F2F2390C-D6B8-49CE-B13F-EA5A791114FA}"/>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Tree>
    <p:extLst>
      <p:ext uri="{BB962C8B-B14F-4D97-AF65-F5344CB8AC3E}">
        <p14:creationId xmlns:p14="http://schemas.microsoft.com/office/powerpoint/2010/main" val="119075813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8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normAutofit/>
          </a:bodyPr>
          <a:lstStyle>
            <a:lvl1pPr algn="ctr">
              <a:defRPr sz="800"/>
            </a:lvl1pPr>
          </a:lstStyle>
          <a:p>
            <a:r>
              <a:rPr lang="en-GB" sz="675"/>
              <a:t>Insert sponsorship mark here</a:t>
            </a:r>
            <a:endParaRPr lang="en-GB"/>
          </a:p>
        </p:txBody>
      </p:sp>
      <p:sp>
        <p:nvSpPr>
          <p:cNvPr id="8" name="Text Placeholder 7"/>
          <p:cNvSpPr>
            <a:spLocks noGrp="1"/>
          </p:cNvSpPr>
          <p:nvPr>
            <p:ph type="body" sz="quarter" idx="15"/>
          </p:nvPr>
        </p:nvSpPr>
        <p:spPr>
          <a:xfrm>
            <a:off x="9406187" y="5995943"/>
            <a:ext cx="2319501" cy="363722"/>
          </a:xfrm>
        </p:spPr>
        <p:txBody>
          <a:bodyPr anchor="b" anchorCtr="0">
            <a:normAutofit/>
          </a:bodyPr>
          <a:lstStyle>
            <a:lvl1pPr>
              <a:lnSpc>
                <a:spcPct val="100000"/>
              </a:lnSpc>
              <a:defRPr sz="80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5785455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3731413965"/>
      </p:ext>
    </p:extLst>
  </p:cSld>
  <p:clrMapOvr>
    <a:masterClrMapping/>
  </p:clrMapOvr>
  <p:hf hdr="0" dt="0"/>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End Slide - Whit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02EF912-923C-46D7-9F04-28C5F6638D4D}"/>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4" name="Oval 5">
              <a:extLst>
                <a:ext uri="{FF2B5EF4-FFF2-40B4-BE49-F238E27FC236}">
                  <a16:creationId xmlns:a16="http://schemas.microsoft.com/office/drawing/2014/main" id="{ACEE7301-D2F6-4D12-A8D7-4AC23AEDEF6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 name="Freeform 6">
              <a:extLst>
                <a:ext uri="{FF2B5EF4-FFF2-40B4-BE49-F238E27FC236}">
                  <a16:creationId xmlns:a16="http://schemas.microsoft.com/office/drawing/2014/main" id="{2B6B4636-BB6A-4DCD-9114-500CB571D3F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6" name="Rectangle 7">
              <a:extLst>
                <a:ext uri="{FF2B5EF4-FFF2-40B4-BE49-F238E27FC236}">
                  <a16:creationId xmlns:a16="http://schemas.microsoft.com/office/drawing/2014/main" id="{D86E6667-3C7C-48F3-BE04-E39ED7BCE9E7}"/>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7" name="Freeform 8">
              <a:extLst>
                <a:ext uri="{FF2B5EF4-FFF2-40B4-BE49-F238E27FC236}">
                  <a16:creationId xmlns:a16="http://schemas.microsoft.com/office/drawing/2014/main" id="{83B3543C-4925-41EA-A678-B7C7C94BD0A4}"/>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8" name="Rectangle 9">
              <a:extLst>
                <a:ext uri="{FF2B5EF4-FFF2-40B4-BE49-F238E27FC236}">
                  <a16:creationId xmlns:a16="http://schemas.microsoft.com/office/drawing/2014/main" id="{BB68EBCD-1403-4207-B14B-FFCA149A5002}"/>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9" name="Rectangle 10">
              <a:extLst>
                <a:ext uri="{FF2B5EF4-FFF2-40B4-BE49-F238E27FC236}">
                  <a16:creationId xmlns:a16="http://schemas.microsoft.com/office/drawing/2014/main" id="{488481E3-38D9-4FA6-BBD1-53C7928EA20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11">
              <a:extLst>
                <a:ext uri="{FF2B5EF4-FFF2-40B4-BE49-F238E27FC236}">
                  <a16:creationId xmlns:a16="http://schemas.microsoft.com/office/drawing/2014/main" id="{F1D634FE-D0DB-4950-A05E-E232C820BE5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1" name="Freeform 12">
              <a:extLst>
                <a:ext uri="{FF2B5EF4-FFF2-40B4-BE49-F238E27FC236}">
                  <a16:creationId xmlns:a16="http://schemas.microsoft.com/office/drawing/2014/main" id="{343C8A28-8F2E-4287-95A8-087317D45D1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2" name="Freeform 13">
              <a:extLst>
                <a:ext uri="{FF2B5EF4-FFF2-40B4-BE49-F238E27FC236}">
                  <a16:creationId xmlns:a16="http://schemas.microsoft.com/office/drawing/2014/main" id="{65EB554A-7B0F-49F6-BC9B-5A390050EAF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3" name="Freeform 14">
              <a:extLst>
                <a:ext uri="{FF2B5EF4-FFF2-40B4-BE49-F238E27FC236}">
                  <a16:creationId xmlns:a16="http://schemas.microsoft.com/office/drawing/2014/main" id="{C3F82BF2-2611-4FE2-B71C-39178F02471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14" name="Rectangle 13">
            <a:extLst>
              <a:ext uri="{FF2B5EF4-FFF2-40B4-BE49-F238E27FC236}">
                <a16:creationId xmlns:a16="http://schemas.microsoft.com/office/drawing/2014/main" id="{0C9D8E0D-9857-4536-9449-DD1FA3BBC1BD}"/>
              </a:ext>
            </a:extLst>
          </p:cNvPr>
          <p:cNvSpPr/>
          <p:nvPr userDrawn="1"/>
        </p:nvSpPr>
        <p:spPr bwMode="gray">
          <a:xfrm>
            <a:off x="0" y="6329082"/>
            <a:ext cx="12192000" cy="52891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5" name="USOC_Text2">
            <a:extLst>
              <a:ext uri="{FF2B5EF4-FFF2-40B4-BE49-F238E27FC236}">
                <a16:creationId xmlns:a16="http://schemas.microsoft.com/office/drawing/2014/main" id="{EC476BF2-5DB3-4E81-A6C7-89DC9BED3D7B}"/>
              </a:ext>
            </a:extLst>
          </p:cNvPr>
          <p:cNvSpPr txBox="1">
            <a:spLocks/>
          </p:cNvSpPr>
          <p:nvPr userDrawn="1"/>
        </p:nvSpPr>
        <p:spPr bwMode="gray">
          <a:xfrm>
            <a:off x="477509" y="4946073"/>
            <a:ext cx="7079737" cy="1704353"/>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bout Deloitte</a:t>
            </a:r>
            <a:br>
              <a:rPr lang="en-US" sz="700" dirty="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US" sz="700" dirty="0" err="1">
                <a:solidFill>
                  <a:schemeClr val="tx1"/>
                </a:solidFill>
                <a:latin typeface="Open Sans" panose="020B0606030504020204" pitchFamily="34" charset="0"/>
                <a:ea typeface="Open Sans" panose="020B0606030504020204" pitchFamily="34" charset="0"/>
                <a:cs typeface="Open Sans" panose="020B0606030504020204" pitchFamily="34" charset="0"/>
              </a:rPr>
              <a:t>Deloitte</a:t>
            </a:r>
            <a:r>
              <a:rPr lang="en-US"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 refers to one or more of Deloitte </a:t>
            </a:r>
            <a:r>
              <a:rPr lang="en-US" sz="700" noProof="1">
                <a:solidFill>
                  <a:schemeClr val="tx1"/>
                </a:solidFill>
                <a:latin typeface="Open Sans" panose="020B0606030504020204" pitchFamily="34" charset="0"/>
                <a:ea typeface="Open Sans" panose="020B0606030504020204" pitchFamily="34" charset="0"/>
                <a:cs typeface="Open Sans" panose="020B0606030504020204" pitchFamily="34" charset="0"/>
              </a:rPr>
              <a:t>Touche</a:t>
            </a:r>
            <a:r>
              <a:rPr lang="en-US"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70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2"/>
              </a:rPr>
              <a:t>www.deloitte.com/about</a:t>
            </a:r>
            <a:r>
              <a:rPr lang="en-US"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 to learn more about our global network of member firms.</a:t>
            </a:r>
          </a:p>
          <a:p>
            <a:pPr>
              <a:lnSpc>
                <a:spcPts val="900"/>
              </a:lnSpc>
            </a:pPr>
            <a:r>
              <a:rPr lang="en-US"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1 Deloitte Development LLC. All rights reserved.</a:t>
            </a:r>
            <a:br>
              <a:rPr lang="en-US" sz="700" dirty="0">
                <a:solidFill>
                  <a:schemeClr val="tx1"/>
                </a:solidFill>
                <a:latin typeface="Open Sans" panose="020B0606030504020204" pitchFamily="34" charset="0"/>
                <a:ea typeface="Open Sans" panose="020B0606030504020204" pitchFamily="34" charset="0"/>
                <a:cs typeface="Open Sans" panose="020B0606030504020204" pitchFamily="34" charset="0"/>
              </a:rPr>
            </a:br>
            <a:endParaRPr lang="en-US" sz="7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7824045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508105"/>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0/2021</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149929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4047491" y="1112872"/>
            <a:ext cx="4097019" cy="1256626"/>
          </a:xfrm>
        </p:spPr>
        <p:txBody>
          <a:bodyPr lIns="0" tIns="0" rIns="0" bIns="0"/>
          <a:lstStyle>
            <a:lvl1pPr>
              <a:defRPr sz="8166" b="1" i="0">
                <a:solidFill>
                  <a:srgbClr val="C4D500"/>
                </a:solidFill>
                <a:latin typeface="Krungthep"/>
                <a:cs typeface="Krungthep"/>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0/2021</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02902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047491" y="1112872"/>
            <a:ext cx="4097019" cy="1256626"/>
          </a:xfrm>
        </p:spPr>
        <p:txBody>
          <a:bodyPr lIns="0" tIns="0" rIns="0" bIns="0"/>
          <a:lstStyle>
            <a:lvl1pPr>
              <a:defRPr sz="8166" b="1" i="0">
                <a:solidFill>
                  <a:srgbClr val="C4D500"/>
                </a:solidFill>
                <a:latin typeface="Krungthep"/>
                <a:cs typeface="Krungthep"/>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0/2021</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02835282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4047491" y="1112872"/>
            <a:ext cx="4097019" cy="1256626"/>
          </a:xfrm>
        </p:spPr>
        <p:txBody>
          <a:bodyPr lIns="0" tIns="0" rIns="0" bIns="0"/>
          <a:lstStyle>
            <a:lvl1pPr>
              <a:defRPr sz="8166" b="1" i="0">
                <a:solidFill>
                  <a:srgbClr val="C4D500"/>
                </a:solidFill>
                <a:latin typeface="Krungthep"/>
                <a:cs typeface="Krungthep"/>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0/2021</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6835583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1227"/>
            <a:ext cx="12192000" cy="6856942"/>
          </a:xfrm>
          <a:custGeom>
            <a:avLst/>
            <a:gdLst/>
            <a:ahLst/>
            <a:cxnLst/>
            <a:rect l="l" t="t" r="r" b="b"/>
            <a:pathLst>
              <a:path w="14630400" h="8228330">
                <a:moveTo>
                  <a:pt x="14630400" y="0"/>
                </a:moveTo>
                <a:lnTo>
                  <a:pt x="0" y="0"/>
                </a:lnTo>
                <a:lnTo>
                  <a:pt x="0" y="8228126"/>
                </a:lnTo>
                <a:lnTo>
                  <a:pt x="14630400" y="8228126"/>
                </a:lnTo>
                <a:lnTo>
                  <a:pt x="14630400" y="0"/>
                </a:lnTo>
                <a:close/>
              </a:path>
            </a:pathLst>
          </a:custGeom>
          <a:solidFill>
            <a:srgbClr val="000000"/>
          </a:solidFill>
        </p:spPr>
        <p:txBody>
          <a:bodyPr wrap="square" lIns="0" tIns="0" rIns="0" bIns="0" rtlCol="0"/>
          <a:lstStyle/>
          <a:p>
            <a:endParaRPr sz="150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0/20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91552246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2138" y="547272"/>
            <a:ext cx="2343067" cy="952915"/>
          </a:xfrm>
          <a:prstGeom prst="rect">
            <a:avLst/>
          </a:prstGeom>
        </p:spPr>
      </p:pic>
    </p:spTree>
    <p:extLst>
      <p:ext uri="{BB962C8B-B14F-4D97-AF65-F5344CB8AC3E}">
        <p14:creationId xmlns:p14="http://schemas.microsoft.com/office/powerpoint/2010/main" val="420845281"/>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721519" y="393192"/>
            <a:ext cx="10363200" cy="594360"/>
          </a:xfrm>
        </p:spPr>
        <p:txBody>
          <a:bodyPr vert="horz" lIns="0" tIns="45720" rIns="0" bIns="0" rtlCol="0" anchor="b" anchorCtr="0">
            <a:noAutofit/>
          </a:bodyPr>
          <a:lstStyle>
            <a:lvl1pPr>
              <a:defRPr lang="en-US" sz="2400" b="0" spc="-75" dirty="0">
                <a:latin typeface="+mn-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721840" y="1051560"/>
            <a:ext cx="10362880" cy="475488"/>
          </a:xfrm>
        </p:spPr>
        <p:txBody>
          <a:bodyPr vert="horz" lIns="0" tIns="0" rIns="0" bIns="0" rtlCol="0">
            <a:noAutofit/>
          </a:bodyPr>
          <a:lstStyle>
            <a:lvl1pPr marL="0" indent="0">
              <a:buNone/>
              <a:defRPr lang="en-US" sz="2000">
                <a:solidFill>
                  <a:schemeClr val="bg1">
                    <a:lumMod val="50000"/>
                  </a:schemeClr>
                </a:solidFill>
              </a:defRPr>
            </a:lvl1pPr>
          </a:lstStyle>
          <a:p>
            <a:pPr marL="228600" lvl="0" indent="-228600">
              <a:lnSpc>
                <a:spcPct val="130000"/>
              </a:lnSpc>
            </a:pPr>
            <a:r>
              <a:rPr lang="en-US"/>
              <a:t>Click to edit Master text styles</a:t>
            </a:r>
          </a:p>
        </p:txBody>
      </p:sp>
    </p:spTree>
    <p:extLst>
      <p:ext uri="{BB962C8B-B14F-4D97-AF65-F5344CB8AC3E}">
        <p14:creationId xmlns:p14="http://schemas.microsoft.com/office/powerpoint/2010/main" val="24482383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2 content with quote ">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27B9F29-C1EA-4126-80E1-555E1176BD3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Copyright">
            <a:extLst>
              <a:ext uri="{FF2B5EF4-FFF2-40B4-BE49-F238E27FC236}">
                <a16:creationId xmlns:a16="http://schemas.microsoft.com/office/drawing/2014/main" id="{A277B8B5-A623-412B-8A84-1959265987E1}"/>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19 Deloitte Development LLC. All rights reserved.</a:t>
            </a:r>
          </a:p>
        </p:txBody>
      </p:sp>
      <p:sp>
        <p:nvSpPr>
          <p:cNvPr id="11" name="TextBox 10">
            <a:extLst>
              <a:ext uri="{FF2B5EF4-FFF2-40B4-BE49-F238E27FC236}">
                <a16:creationId xmlns:a16="http://schemas.microsoft.com/office/drawing/2014/main" id="{A63D057F-D80D-4DFF-94C2-DA9EE0BA8493}"/>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71758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head &amp; Breadcrumb">
    <p:spTree>
      <p:nvGrpSpPr>
        <p:cNvPr id="1" name=""/>
        <p:cNvGrpSpPr/>
        <p:nvPr/>
      </p:nvGrpSpPr>
      <p:grpSpPr>
        <a:xfrm>
          <a:off x="0" y="0"/>
          <a:ext cx="0" cy="0"/>
          <a:chOff x="0" y="0"/>
          <a:chExt cx="0" cy="0"/>
        </a:xfrm>
      </p:grpSpPr>
      <p:sp>
        <p:nvSpPr>
          <p:cNvPr id="7" name="Title 1"/>
          <p:cNvSpPr>
            <a:spLocks noGrp="1"/>
          </p:cNvSpPr>
          <p:nvPr>
            <p:ph type="title"/>
          </p:nvPr>
        </p:nvSpPr>
        <p:spPr>
          <a:xfrm>
            <a:off x="721519" y="393192"/>
            <a:ext cx="10363200" cy="594360"/>
          </a:xfrm>
        </p:spPr>
        <p:txBody>
          <a:bodyPr vert="horz" lIns="0" tIns="45720" rIns="0" bIns="0" rtlCol="0" anchor="b" anchorCtr="0">
            <a:noAutofit/>
          </a:bodyPr>
          <a:lstStyle>
            <a:lvl1pPr>
              <a:defRPr lang="en-US" sz="2400" b="0" spc="-75" dirty="0">
                <a:latin typeface="+mn-lt"/>
              </a:defRPr>
            </a:lvl1pPr>
          </a:lstStyle>
          <a:p>
            <a:pPr lvl="0" defTabSz="685800">
              <a:lnSpc>
                <a:spcPct val="85000"/>
              </a:lnSpc>
            </a:pPr>
            <a:r>
              <a:rPr lang="en-US"/>
              <a:t>Click to edit Master title style</a:t>
            </a:r>
          </a:p>
        </p:txBody>
      </p:sp>
      <p:sp>
        <p:nvSpPr>
          <p:cNvPr id="9" name="Text Placeholder 8"/>
          <p:cNvSpPr>
            <a:spLocks noGrp="1"/>
          </p:cNvSpPr>
          <p:nvPr>
            <p:ph type="body" sz="quarter" idx="14"/>
          </p:nvPr>
        </p:nvSpPr>
        <p:spPr>
          <a:xfrm>
            <a:off x="721840" y="1051560"/>
            <a:ext cx="10362880" cy="475488"/>
          </a:xfrm>
        </p:spPr>
        <p:txBody>
          <a:bodyPr vert="horz" lIns="0" tIns="0" rIns="0" bIns="0" rtlCol="0">
            <a:noAutofit/>
          </a:bodyPr>
          <a:lstStyle>
            <a:lvl1pPr marL="0" indent="0">
              <a:buNone/>
              <a:defRPr lang="en-US" sz="2000">
                <a:solidFill>
                  <a:schemeClr val="bg1">
                    <a:lumMod val="50000"/>
                  </a:schemeClr>
                </a:solidFill>
              </a:defRPr>
            </a:lvl1pPr>
          </a:lstStyle>
          <a:p>
            <a:pPr marL="228600" lvl="0" indent="-228600">
              <a:lnSpc>
                <a:spcPct val="130000"/>
              </a:lnSpc>
            </a:pPr>
            <a:r>
              <a:rPr lang="en-US"/>
              <a:t>Click to edit Master text styles</a:t>
            </a:r>
          </a:p>
        </p:txBody>
      </p:sp>
      <p:sp>
        <p:nvSpPr>
          <p:cNvPr id="11" name="Text Placeholder 5"/>
          <p:cNvSpPr>
            <a:spLocks noGrp="1"/>
          </p:cNvSpPr>
          <p:nvPr>
            <p:ph type="body" sz="quarter" idx="15" hasCustomPrompt="1"/>
          </p:nvPr>
        </p:nvSpPr>
        <p:spPr>
          <a:xfrm>
            <a:off x="721519" y="393192"/>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81895179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200" spc="-75" dirty="0">
                <a:latin typeface="+mn-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9499265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200" spc="-75" dirty="0">
                <a:latin typeface="+mn-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20552430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62596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a:t>Thank You </a:t>
            </a:r>
            <a:br>
              <a:rPr lang="en-US"/>
            </a:br>
            <a:r>
              <a:rPr lang="en-US"/>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a:t>
            </a:r>
            <a:r>
              <a:rPr lang="en-US" sz="700" dirty="0" err="1">
                <a:latin typeface="Open Sans" charset="0"/>
                <a:ea typeface="Open Sans" charset="0"/>
                <a:cs typeface="Open Sans" charset="0"/>
              </a:rPr>
              <a:t>Touche</a:t>
            </a:r>
            <a:r>
              <a:rPr lang="en-US" sz="700" dirty="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 2021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a:t>
            </a:r>
            <a:r>
              <a:rPr lang="en-US" sz="700" b="1" dirty="0" err="1">
                <a:latin typeface="Open Sans" charset="0"/>
                <a:ea typeface="Open Sans" charset="0"/>
                <a:cs typeface="Open Sans" charset="0"/>
              </a:rPr>
              <a:t>Touche</a:t>
            </a:r>
            <a:r>
              <a:rPr lang="en-US" sz="700" b="1" dirty="0">
                <a:latin typeface="Open Sans" charset="0"/>
                <a:ea typeface="Open Sans" charset="0"/>
                <a:cs typeface="Open Sans" charset="0"/>
              </a:rPr>
              <a:t> Tohmatsu Limited</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2138" y="547272"/>
            <a:ext cx="2343067" cy="952915"/>
          </a:xfrm>
          <a:prstGeom prst="rect">
            <a:avLst/>
          </a:prstGeom>
        </p:spPr>
      </p:pic>
    </p:spTree>
    <p:extLst>
      <p:ext uri="{BB962C8B-B14F-4D97-AF65-F5344CB8AC3E}">
        <p14:creationId xmlns:p14="http://schemas.microsoft.com/office/powerpoint/2010/main" val="1076039446"/>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375328849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0298117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362289377"/>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cxnSp>
        <p:nvCxnSpPr>
          <p:cNvPr id="5" name="Straight Connector 4">
            <a:extLst>
              <a:ext uri="{FF2B5EF4-FFF2-40B4-BE49-F238E27FC236}">
                <a16:creationId xmlns:a16="http://schemas.microsoft.com/office/drawing/2014/main" id="{CB5451A9-3E6A-4737-92D0-C9DAA534DA04}"/>
              </a:ext>
            </a:extLst>
          </p:cNvPr>
          <p:cNvCxnSpPr/>
          <p:nvPr userDrawn="1"/>
        </p:nvCxnSpPr>
        <p:spPr>
          <a:xfrm flipV="1">
            <a:off x="0" y="0"/>
            <a:ext cx="12192000" cy="685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A2ADDA35-0590-4771-9879-88CE0238551F}"/>
              </a:ext>
            </a:extLst>
          </p:cNvPr>
          <p:cNvGrpSpPr/>
          <p:nvPr userDrawn="1"/>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5" name="Freeform 11">
              <a:extLst>
                <a:ext uri="{FF2B5EF4-FFF2-40B4-BE49-F238E27FC236}">
                  <a16:creationId xmlns:a16="http://schemas.microsoft.com/office/drawing/2014/main" id="{90C5C28F-BB95-44AD-9700-55D9AE2BE2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6" name="Freeform 12">
              <a:extLst>
                <a:ext uri="{FF2B5EF4-FFF2-40B4-BE49-F238E27FC236}">
                  <a16:creationId xmlns:a16="http://schemas.microsoft.com/office/drawing/2014/main" id="{42500885-66FF-4752-A3E1-7C0FA9778A8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778423157"/>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805718837"/>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2 content with quote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233203506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4001"/>
            <a:ext cx="11271504"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1532"/>
            <a:ext cx="11271504"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648028962"/>
      </p:ext>
    </p:extLst>
  </p:cSld>
  <p:clrMapOvr>
    <a:masterClrMapping/>
  </p:clrMapOvr>
  <p:transition>
    <p:fade/>
  </p:transition>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6936"/>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opyright">
            <a:extLst>
              <a:ext uri="{FF2B5EF4-FFF2-40B4-BE49-F238E27FC236}">
                <a16:creationId xmlns:a16="http://schemas.microsoft.com/office/drawing/2014/main" id="{CA24B28E-5B13-4779-8D72-C52A20B99FE7}"/>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CaseCode">
            <a:extLst>
              <a:ext uri="{FF2B5EF4-FFF2-40B4-BE49-F238E27FC236}">
                <a16:creationId xmlns:a16="http://schemas.microsoft.com/office/drawing/2014/main" id="{D39A514A-409D-470C-AE9C-EFB16BDA8C83}"/>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TextBox 13">
            <a:extLst>
              <a:ext uri="{FF2B5EF4-FFF2-40B4-BE49-F238E27FC236}">
                <a16:creationId xmlns:a16="http://schemas.microsoft.com/office/drawing/2014/main" id="{72A5EC33-1574-4E3A-89DA-3EC00A69C870}"/>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70877088"/>
      </p:ext>
    </p:extLst>
  </p:cSld>
  <p:clrMapOvr>
    <a:masterClrMapping/>
  </p:clrMapOvr>
  <p:transition>
    <p:fade/>
  </p:transition>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8217"/>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3" name="Copyright">
            <a:extLst>
              <a:ext uri="{FF2B5EF4-FFF2-40B4-BE49-F238E27FC236}">
                <a16:creationId xmlns:a16="http://schemas.microsoft.com/office/drawing/2014/main" id="{1DC4A35C-6E5F-4D1C-8973-1C29CBAF765E}"/>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CaseCode">
            <a:extLst>
              <a:ext uri="{FF2B5EF4-FFF2-40B4-BE49-F238E27FC236}">
                <a16:creationId xmlns:a16="http://schemas.microsoft.com/office/drawing/2014/main" id="{5B6818A1-3235-4413-9665-6D922B35C666}"/>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TextBox 14">
            <a:extLst>
              <a:ext uri="{FF2B5EF4-FFF2-40B4-BE49-F238E27FC236}">
                <a16:creationId xmlns:a16="http://schemas.microsoft.com/office/drawing/2014/main" id="{CA87CE22-99C8-4AA1-B80A-420B68B7E283}"/>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92338981"/>
      </p:ext>
    </p:extLst>
  </p:cSld>
  <p:clrMapOvr>
    <a:masterClrMapping/>
  </p:clrMapOvr>
  <p:transition>
    <p:fade/>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04AF6108-47E9-489A-A28A-88A6C754FB38}"/>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8980A458-ABD9-40B8-8C0D-269072CDB94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071386E3-7822-4155-91DC-3E38D96ED6CE}"/>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40514283"/>
      </p:ext>
    </p:extLst>
  </p:cSld>
  <p:clrMapOvr>
    <a:masterClrMapping/>
  </p:clrMapOvr>
  <p:transition>
    <p:fade/>
  </p:transition>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484F29FA-0A46-4792-A45E-5DE1B223E09B}"/>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12BDD3ED-029E-4AC9-80CA-D3A2FBE9A5A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A6895299-9295-492F-8C31-9744F3FB7A06}"/>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46453634"/>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opyright">
            <a:extLst>
              <a:ext uri="{FF2B5EF4-FFF2-40B4-BE49-F238E27FC236}">
                <a16:creationId xmlns:a16="http://schemas.microsoft.com/office/drawing/2014/main" id="{EC93E963-CFD3-43A9-AE1B-F08B522B4130}"/>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aseCode">
            <a:extLst>
              <a:ext uri="{FF2B5EF4-FFF2-40B4-BE49-F238E27FC236}">
                <a16:creationId xmlns:a16="http://schemas.microsoft.com/office/drawing/2014/main" id="{791BE9BD-85F6-497E-A8D6-CBFF87927B15}"/>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AB538D13-8CB9-4EE1-BCA9-24557BC4F2B2}"/>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36393008"/>
      </p:ext>
    </p:extLst>
  </p:cSld>
  <p:clrMapOvr>
    <a:masterClrMapping/>
  </p:clrMapOvr>
  <p:transition>
    <p:fade/>
  </p:transition>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3297" y="1714500"/>
            <a:ext cx="9323916"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08E5BA7E-93C2-43A2-9267-44AEA65B95C5}"/>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015C4658-A753-4EFC-B4C9-8CC1413F742B}"/>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DEC3538D-DEF3-427C-A22B-D6DED4B4F939}"/>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7293324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42B478C9-B5DA-40CF-85B5-B8255333DF5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13465439-7954-4F6D-A5BA-2445764B064C}"/>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5B993EBE-E0B6-4868-AEFF-D7DAD2DDC7E4}"/>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7122777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D9D178A5-CCC4-4A46-8C47-9A140D4A5CA1}"/>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70B3F7DA-818B-4D8B-B857-2D625878F36E}"/>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4106B75E-593B-4DBE-A922-1C55C945A5EC}"/>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7006914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8A445E98-0101-4641-B761-F6EC62A4C1F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8E6546D8-000E-40B0-BE69-23BCCEC818E9}"/>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C7761B44-F344-440B-8939-9E878C81D0CA}"/>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9945439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whit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6" name="Picture 15">
            <a:extLst>
              <a:ext uri="{FF2B5EF4-FFF2-40B4-BE49-F238E27FC236}">
                <a16:creationId xmlns:a16="http://schemas.microsoft.com/office/drawing/2014/main" id="{ABBADD65-1F37-4547-9DD0-648028E966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65654" y="1235921"/>
            <a:ext cx="4660691" cy="4386157"/>
          </a:xfrm>
          <a:prstGeom prst="rect">
            <a:avLst/>
          </a:prstGeom>
        </p:spPr>
      </p:pic>
    </p:spTree>
    <p:extLst>
      <p:ext uri="{BB962C8B-B14F-4D97-AF65-F5344CB8AC3E}">
        <p14:creationId xmlns:p14="http://schemas.microsoft.com/office/powerpoint/2010/main" val="2147013919"/>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615449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sz="120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63296" y="347473"/>
            <a:ext cx="11277600"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3682804634"/>
      </p:ext>
    </p:extLst>
  </p:cSld>
  <p:clrMapOvr>
    <a:masterClrMapping/>
  </p:clrMapOvr>
  <p:transition>
    <p:fade/>
  </p:transition>
  <p:hf hd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3296" y="1714500"/>
            <a:ext cx="9341104" cy="4648200"/>
          </a:xfrm>
          <a:prstGeom prst="rect">
            <a:avLst/>
          </a:prstGeom>
        </p:spPr>
        <p:txBody>
          <a:bodyPr>
            <a:noAutofit/>
          </a:bodyPr>
          <a:lstStyle>
            <a:lvl1pPr marL="0" indent="0" algn="l">
              <a:buFontTx/>
              <a:buNone/>
              <a:tabLst>
                <a:tab pos="5047060" algn="r"/>
              </a:tabLst>
              <a:defRPr sz="1200">
                <a:latin typeface="+mn-lt"/>
              </a:defRPr>
            </a:lvl1pPr>
            <a:lvl2pPr marL="104775" indent="-104775" algn="l">
              <a:buClrTx/>
              <a:buSzPct val="100000"/>
              <a:buFont typeface="Arial" panose="020B0604020202020204" pitchFamily="34" charset="0"/>
              <a:buChar char="•"/>
              <a:tabLst>
                <a:tab pos="5047060" algn="r"/>
              </a:tabLst>
              <a:defRPr sz="1200">
                <a:latin typeface="+mj-lt"/>
              </a:defRPr>
            </a:lvl2pPr>
            <a:lvl3pPr marL="228600" indent="-104775" algn="l">
              <a:buClrTx/>
              <a:buSzPct val="100000"/>
              <a:buFont typeface="Arial" panose="020B0604020202020204" pitchFamily="34" charset="0"/>
              <a:buChar char="−"/>
              <a:tabLst>
                <a:tab pos="5047060" algn="r"/>
              </a:tabLst>
              <a:defRPr sz="1200">
                <a:latin typeface="+mn-lt"/>
              </a:defRPr>
            </a:lvl3pPr>
            <a:lvl4pPr marL="352425" indent="-104775" algn="l">
              <a:buClrTx/>
              <a:buSzPct val="100000"/>
              <a:buFont typeface="Arial" panose="020B0604020202020204" pitchFamily="34" charset="0"/>
              <a:buChar char="◦"/>
              <a:tabLst>
                <a:tab pos="504706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463296" y="347473"/>
            <a:ext cx="11180232"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3116008111"/>
      </p:ext>
    </p:extLst>
  </p:cSld>
  <p:clrMapOvr>
    <a:masterClrMapping/>
  </p:clrMapOvr>
  <p:transition>
    <p:fade/>
  </p:transition>
  <p:hf hdr="0" dt="0"/>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933144" y="345584"/>
            <a:ext cx="2804160" cy="1027760"/>
          </a:xfrm>
        </p:spPr>
        <p:txBody>
          <a:bodyPr>
            <a:noAutofit/>
          </a:bodyPr>
          <a:lstStyle>
            <a:lvl1pPr>
              <a:spcBef>
                <a:spcPts val="139"/>
              </a:spcBef>
              <a:defRPr sz="8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63296" y="1714500"/>
            <a:ext cx="3549904" cy="4648200"/>
          </a:xfrm>
        </p:spPr>
        <p:txBody>
          <a:bodyPr>
            <a:noAutofit/>
          </a:bodyPr>
          <a:lstStyle>
            <a:lvl1pPr>
              <a:spcBef>
                <a:spcPts val="0"/>
              </a:spcBef>
              <a:spcAft>
                <a:spcPts val="416"/>
              </a:spcAft>
              <a:defRPr sz="12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4318000" y="1719073"/>
            <a:ext cx="7416801" cy="4643628"/>
          </a:xfrm>
        </p:spPr>
        <p:txBody>
          <a:bodyPr>
            <a:noAutofit/>
          </a:bodyPr>
          <a:lstStyle>
            <a:lvl1pPr marL="0" indent="0" algn="l">
              <a:spcBef>
                <a:spcPts val="1247"/>
              </a:spcBef>
              <a:buFontTx/>
              <a:buNone/>
              <a:defRPr sz="1200"/>
            </a:lvl1pPr>
            <a:lvl2pPr marL="104775" indent="-104775" algn="l">
              <a:buClrTx/>
              <a:buSzPct val="100000"/>
              <a:buFont typeface="Arial" panose="020B0604020202020204" pitchFamily="34" charset="0"/>
              <a:buChar char="•"/>
              <a:defRPr sz="1200"/>
            </a:lvl2pPr>
            <a:lvl3pPr marL="228600" indent="-104775" algn="l">
              <a:buClrTx/>
              <a:buSzPct val="100000"/>
              <a:buFont typeface="Arial" panose="020B0604020202020204" pitchFamily="34" charset="0"/>
              <a:buChar char="−"/>
              <a:defRPr sz="1200"/>
            </a:lvl3pPr>
            <a:lvl4pPr marL="352425" indent="-104775" algn="l">
              <a:buClrTx/>
              <a:buSzPct val="100000"/>
              <a:buFont typeface="Arial" panose="020B0604020202020204" pitchFamily="34" charset="0"/>
              <a:buChar char="◦"/>
              <a:defRPr sz="1200"/>
            </a:lvl4pPr>
            <a:lvl5pPr marL="476250" indent="-104775" algn="l">
              <a:buClrTx/>
              <a:buSzPct val="10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8D879EE2-D803-4CB2-AF00-F24E09224D10}"/>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7" name="Oval 5">
              <a:extLst>
                <a:ext uri="{FF2B5EF4-FFF2-40B4-BE49-F238E27FC236}">
                  <a16:creationId xmlns:a16="http://schemas.microsoft.com/office/drawing/2014/main" id="{D45CA835-378D-4289-9657-CD3C1D61435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8" name="Freeform 6">
              <a:extLst>
                <a:ext uri="{FF2B5EF4-FFF2-40B4-BE49-F238E27FC236}">
                  <a16:creationId xmlns:a16="http://schemas.microsoft.com/office/drawing/2014/main" id="{D3810899-A11C-413B-8CBC-D3CFBE3CD80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Rectangle 7">
              <a:extLst>
                <a:ext uri="{FF2B5EF4-FFF2-40B4-BE49-F238E27FC236}">
                  <a16:creationId xmlns:a16="http://schemas.microsoft.com/office/drawing/2014/main" id="{A104677E-C9A9-43FD-9636-282AA4967CC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8">
              <a:extLst>
                <a:ext uri="{FF2B5EF4-FFF2-40B4-BE49-F238E27FC236}">
                  <a16:creationId xmlns:a16="http://schemas.microsoft.com/office/drawing/2014/main" id="{33CAB285-FAC0-4F34-8146-267CBA1B5D9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9">
              <a:extLst>
                <a:ext uri="{FF2B5EF4-FFF2-40B4-BE49-F238E27FC236}">
                  <a16:creationId xmlns:a16="http://schemas.microsoft.com/office/drawing/2014/main" id="{16082ED9-88C5-4736-942C-C7E3CCCA1BE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Rectangle 10">
              <a:extLst>
                <a:ext uri="{FF2B5EF4-FFF2-40B4-BE49-F238E27FC236}">
                  <a16:creationId xmlns:a16="http://schemas.microsoft.com/office/drawing/2014/main" id="{E1E6C516-6C1B-4A02-BB05-4F831D78ECF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Freeform 11">
              <a:extLst>
                <a:ext uri="{FF2B5EF4-FFF2-40B4-BE49-F238E27FC236}">
                  <a16:creationId xmlns:a16="http://schemas.microsoft.com/office/drawing/2014/main" id="{DA6EFC15-17CF-407E-9776-DF518801DE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12">
              <a:extLst>
                <a:ext uri="{FF2B5EF4-FFF2-40B4-BE49-F238E27FC236}">
                  <a16:creationId xmlns:a16="http://schemas.microsoft.com/office/drawing/2014/main" id="{032EBC75-0AB2-4438-90A3-70694DE0F42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3">
              <a:extLst>
                <a:ext uri="{FF2B5EF4-FFF2-40B4-BE49-F238E27FC236}">
                  <a16:creationId xmlns:a16="http://schemas.microsoft.com/office/drawing/2014/main" id="{FC22A38A-F53A-4006-98CB-F2CD2E27610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4">
              <a:extLst>
                <a:ext uri="{FF2B5EF4-FFF2-40B4-BE49-F238E27FC236}">
                  <a16:creationId xmlns:a16="http://schemas.microsoft.com/office/drawing/2014/main" id="{69265903-DE87-4699-A08F-FA3C1B52FB3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791114107"/>
      </p:ext>
    </p:extLst>
  </p:cSld>
  <p:clrMapOvr>
    <a:masterClrMapping/>
  </p:clrMapOvr>
  <p:transition>
    <p:fade/>
  </p:transition>
  <p:hf hd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63295" y="347472"/>
            <a:ext cx="11228832" cy="698500"/>
          </a:xfrm>
          <a:prstGeom prst="rect">
            <a:avLst/>
          </a:prstGeom>
        </p:spPr>
        <p:txBody>
          <a:bodyPr vert="horz" lIns="0" tIns="0" rIns="0" bIns="0" rtlCol="0" anchor="t" anchorCtr="0">
            <a:noAutofit/>
          </a:bodyPr>
          <a:lstStyle>
            <a:lvl1pPr>
              <a:defRPr sz="2100"/>
            </a:lvl1pPr>
          </a:lstStyle>
          <a:p>
            <a:r>
              <a:rPr lang="en-US" noProof="0"/>
              <a:t>Click to add title</a:t>
            </a:r>
          </a:p>
        </p:txBody>
      </p:sp>
      <p:sp>
        <p:nvSpPr>
          <p:cNvPr id="5" name="Picture Placeholder 9"/>
          <p:cNvSpPr>
            <a:spLocks noGrp="1"/>
          </p:cNvSpPr>
          <p:nvPr>
            <p:ph type="pic" sz="quarter" idx="15"/>
          </p:nvPr>
        </p:nvSpPr>
        <p:spPr>
          <a:xfrm>
            <a:off x="5450351" y="1714500"/>
            <a:ext cx="6240000" cy="4648200"/>
          </a:xfrm>
        </p:spPr>
        <p:txBody>
          <a:bodyPr>
            <a:noAutofit/>
          </a:bodyPr>
          <a:lstStyle>
            <a:lvl1pPr>
              <a:defRPr sz="1200"/>
            </a:lvl1pPr>
          </a:lstStyle>
          <a:p>
            <a:r>
              <a:rPr lang="en-US" noProof="0"/>
              <a:t>Click icon to add picture</a:t>
            </a:r>
          </a:p>
        </p:txBody>
      </p:sp>
      <p:sp>
        <p:nvSpPr>
          <p:cNvPr id="6" name="Content Placeholder 3"/>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16106307"/>
      </p:ext>
    </p:extLst>
  </p:cSld>
  <p:clrMapOvr>
    <a:masterClrMapping/>
  </p:clrMapOvr>
  <p:transition>
    <p:fade/>
  </p:transition>
  <p:hf hd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248404" y="1719072"/>
            <a:ext cx="5486397"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95202851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8070183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Chart Placeholder 3"/>
          <p:cNvSpPr>
            <a:spLocks noGrp="1"/>
          </p:cNvSpPr>
          <p:nvPr>
            <p:ph type="chart" sz="quarter" idx="15"/>
          </p:nvPr>
        </p:nvSpPr>
        <p:spPr>
          <a:xfrm>
            <a:off x="463296" y="2078281"/>
            <a:ext cx="11271504" cy="4042735"/>
          </a:xfrm>
          <a:prstGeom prst="rect">
            <a:avLst/>
          </a:prstGeom>
        </p:spPr>
        <p:txBody>
          <a:bodyPr>
            <a:noAutofit/>
          </a:bodyPr>
          <a:lstStyle>
            <a:lvl1pPr>
              <a:defRPr sz="1200"/>
            </a:lvl1pPr>
          </a:lstStyle>
          <a:p>
            <a:r>
              <a:rPr lang="en-US"/>
              <a:t>Click icon to add chart</a:t>
            </a:r>
            <a:endParaRPr lang="en-GB"/>
          </a:p>
        </p:txBody>
      </p:sp>
      <p:sp>
        <p:nvSpPr>
          <p:cNvPr id="18" name="Text Placeholder 8"/>
          <p:cNvSpPr>
            <a:spLocks noGrp="1"/>
          </p:cNvSpPr>
          <p:nvPr>
            <p:ph type="body" sz="quarter" idx="18"/>
          </p:nvPr>
        </p:nvSpPr>
        <p:spPr>
          <a:xfrm>
            <a:off x="463296" y="1717263"/>
            <a:ext cx="11271504" cy="357187"/>
          </a:xfrm>
        </p:spPr>
        <p:txBody>
          <a:bodyPr>
            <a:noAutofit/>
          </a:bodyPr>
          <a:lstStyle>
            <a:lvl1pPr>
              <a:defRPr sz="1200"/>
            </a:lvl1pPr>
          </a:lstStyle>
          <a:p>
            <a:pPr lvl="0"/>
            <a:r>
              <a:rPr lang="en-US" noProof="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61354631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200"/>
            </a:lvl1pPr>
          </a:lstStyle>
          <a:p>
            <a:r>
              <a:rPr lang="en-US" noProof="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8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528649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200"/>
            </a:lvl1pPr>
          </a:lstStyle>
          <a:p>
            <a:r>
              <a:rPr lang="en-US"/>
              <a:t>Click icon to add chart</a:t>
            </a:r>
            <a:endParaRPr lang="en-GB"/>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2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200"/>
            </a:lvl1pPr>
          </a:lstStyle>
          <a:p>
            <a:r>
              <a:rPr lang="en-US"/>
              <a:t>Click icon to add chart</a:t>
            </a:r>
            <a:endParaRPr lang="en-GB"/>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53538045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846432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1884377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98971144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200"/>
            </a:lvl1pPr>
          </a:lstStyle>
          <a:p>
            <a:r>
              <a:rPr lang="en-US" noProof="0"/>
              <a:t>Click icon to add chart</a:t>
            </a:r>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2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200"/>
            </a:lvl1pPr>
          </a:lstStyle>
          <a:p>
            <a:r>
              <a:rPr lang="en-US" noProof="0"/>
              <a:t>Click icon to add chart</a:t>
            </a:r>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2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200"/>
            </a:lvl1pPr>
          </a:lstStyle>
          <a:p>
            <a:r>
              <a:rPr lang="en-US" noProof="0"/>
              <a:t>Click icon to add chart</a:t>
            </a:r>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2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82176056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lvl1pPr>
              <a:defRPr sz="1200"/>
            </a:lvl1pPr>
          </a:lstStyle>
          <a:p>
            <a:r>
              <a:rPr lang="en-US" noProof="0"/>
              <a:t>Click icon to add picture</a:t>
            </a:r>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lvl1pPr>
              <a:defRPr sz="1200"/>
            </a:lvl1pPr>
          </a:lstStyle>
          <a:p>
            <a:r>
              <a:rPr lang="en-US" noProof="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lvl1pPr>
              <a:defRPr sz="1200"/>
            </a:lvl1pPr>
          </a:lstStyle>
          <a:p>
            <a:r>
              <a:rPr lang="en-US" noProof="0"/>
              <a:t>Click icon to add picture</a:t>
            </a:r>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lvl1pPr>
              <a:defRPr sz="1200"/>
            </a:lvl1pPr>
          </a:lstStyle>
          <a:p>
            <a:r>
              <a:rPr lang="en-US" noProof="0"/>
              <a:t>Click icon to add picture</a:t>
            </a:r>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24357001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43518720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72620665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86627738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amp; subtitle">
    <p:bg>
      <p:bgRef idx="1001">
        <a:schemeClr val="bg1"/>
      </p:bgRef>
    </p:bg>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Tree>
    <p:extLst>
      <p:ext uri="{BB962C8B-B14F-4D97-AF65-F5344CB8AC3E}">
        <p14:creationId xmlns:p14="http://schemas.microsoft.com/office/powerpoint/2010/main" val="760219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000000"/>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3" name="CaseCode">
            <a:extLst>
              <a:ext uri="{FF2B5EF4-FFF2-40B4-BE49-F238E27FC236}">
                <a16:creationId xmlns:a16="http://schemas.microsoft.com/office/drawing/2014/main" id="{1F38FEB2-16BD-4957-9E74-380998108783}"/>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AI Strategic Growth Offering</a:t>
            </a:r>
          </a:p>
        </p:txBody>
      </p:sp>
      <p:sp>
        <p:nvSpPr>
          <p:cNvPr id="4" name="Copyright">
            <a:extLst>
              <a:ext uri="{FF2B5EF4-FFF2-40B4-BE49-F238E27FC236}">
                <a16:creationId xmlns:a16="http://schemas.microsoft.com/office/drawing/2014/main" id="{967631AF-4BE3-4B97-9C8A-5E12F3EC59D2}"/>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1 Deloitte Development LLC. All rights reserved.</a:t>
            </a:r>
          </a:p>
        </p:txBody>
      </p:sp>
      <p:sp>
        <p:nvSpPr>
          <p:cNvPr id="6" name="TextBox 5">
            <a:extLst>
              <a:ext uri="{FF2B5EF4-FFF2-40B4-BE49-F238E27FC236}">
                <a16:creationId xmlns:a16="http://schemas.microsoft.com/office/drawing/2014/main" id="{F6B86F14-FE91-4EB4-A7F8-8C6FF7604C6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6328460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51403360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9" Type="http://schemas.openxmlformats.org/officeDocument/2006/relationships/slideLayout" Target="../slideLayouts/slideLayout48.xml"/><Relationship Id="rId21" Type="http://schemas.openxmlformats.org/officeDocument/2006/relationships/slideLayout" Target="../slideLayouts/slideLayout30.xml"/><Relationship Id="rId34" Type="http://schemas.openxmlformats.org/officeDocument/2006/relationships/slideLayout" Target="../slideLayouts/slideLayout43.xml"/><Relationship Id="rId42" Type="http://schemas.openxmlformats.org/officeDocument/2006/relationships/slideLayout" Target="../slideLayouts/slideLayout51.xml"/><Relationship Id="rId47" Type="http://schemas.openxmlformats.org/officeDocument/2006/relationships/oleObject" Target="../embeddings/oleObject2.bin"/><Relationship Id="rId7" Type="http://schemas.openxmlformats.org/officeDocument/2006/relationships/slideLayout" Target="../slideLayouts/slideLayout1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9" Type="http://schemas.openxmlformats.org/officeDocument/2006/relationships/slideLayout" Target="../slideLayouts/slideLayout38.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37" Type="http://schemas.openxmlformats.org/officeDocument/2006/relationships/slideLayout" Target="../slideLayouts/slideLayout46.xml"/><Relationship Id="rId40" Type="http://schemas.openxmlformats.org/officeDocument/2006/relationships/slideLayout" Target="../slideLayouts/slideLayout49.xml"/><Relationship Id="rId45" Type="http://schemas.openxmlformats.org/officeDocument/2006/relationships/vmlDrawing" Target="../drawings/vmlDrawing2.v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slideLayout" Target="../slideLayouts/slideLayout45.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4"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43" Type="http://schemas.openxmlformats.org/officeDocument/2006/relationships/slideLayout" Target="../slideLayouts/slideLayout52.xml"/><Relationship Id="rId48" Type="http://schemas.openxmlformats.org/officeDocument/2006/relationships/image" Target="../media/image1.emf"/><Relationship Id="rId8" Type="http://schemas.openxmlformats.org/officeDocument/2006/relationships/slideLayout" Target="../slideLayouts/slideLayout17.xml"/><Relationship Id="rId3" Type="http://schemas.openxmlformats.org/officeDocument/2006/relationships/slideLayout" Target="../slideLayouts/slideLayout12.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38" Type="http://schemas.openxmlformats.org/officeDocument/2006/relationships/slideLayout" Target="../slideLayouts/slideLayout47.xml"/><Relationship Id="rId46" Type="http://schemas.openxmlformats.org/officeDocument/2006/relationships/tags" Target="../tags/tag2.xml"/><Relationship Id="rId20" Type="http://schemas.openxmlformats.org/officeDocument/2006/relationships/slideLayout" Target="../slideLayouts/slideLayout29.xml"/><Relationship Id="rId41"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theme" Target="../theme/theme3.xml"/><Relationship Id="rId5" Type="http://schemas.openxmlformats.org/officeDocument/2006/relationships/slideLayout" Target="../slideLayouts/slideLayout57.xml"/><Relationship Id="rId4"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5" Type="http://schemas.openxmlformats.org/officeDocument/2006/relationships/slideLayout" Target="../slideLayouts/slideLayout62.xml"/><Relationship Id="rId4" Type="http://schemas.openxmlformats.org/officeDocument/2006/relationships/slideLayout" Target="../slideLayouts/slideLayout61.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9" Type="http://schemas.openxmlformats.org/officeDocument/2006/relationships/slideLayout" Target="../slideLayouts/slideLayout104.xml"/><Relationship Id="rId21" Type="http://schemas.openxmlformats.org/officeDocument/2006/relationships/slideLayout" Target="../slideLayouts/slideLayout86.xml"/><Relationship Id="rId34" Type="http://schemas.openxmlformats.org/officeDocument/2006/relationships/slideLayout" Target="../slideLayouts/slideLayout99.xml"/><Relationship Id="rId42" Type="http://schemas.openxmlformats.org/officeDocument/2006/relationships/slideLayout" Target="../slideLayouts/slideLayout107.xml"/><Relationship Id="rId47" Type="http://schemas.openxmlformats.org/officeDocument/2006/relationships/oleObject" Target="../embeddings/oleObject3.bin"/><Relationship Id="rId7" Type="http://schemas.openxmlformats.org/officeDocument/2006/relationships/slideLayout" Target="../slideLayouts/slideLayout7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9" Type="http://schemas.openxmlformats.org/officeDocument/2006/relationships/slideLayout" Target="../slideLayouts/slideLayout94.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slideLayout" Target="../slideLayouts/slideLayout102.xml"/><Relationship Id="rId40" Type="http://schemas.openxmlformats.org/officeDocument/2006/relationships/slideLayout" Target="../slideLayouts/slideLayout105.xml"/><Relationship Id="rId45" Type="http://schemas.openxmlformats.org/officeDocument/2006/relationships/vmlDrawing" Target="../drawings/vmlDrawing3.v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slideLayout" Target="../slideLayouts/slideLayout101.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4" Type="http://schemas.openxmlformats.org/officeDocument/2006/relationships/theme" Target="../theme/theme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slideLayout" Target="../slideLayouts/slideLayout100.xml"/><Relationship Id="rId43" Type="http://schemas.openxmlformats.org/officeDocument/2006/relationships/slideLayout" Target="../slideLayouts/slideLayout108.xml"/><Relationship Id="rId48" Type="http://schemas.openxmlformats.org/officeDocument/2006/relationships/image" Target="../media/image1.emf"/><Relationship Id="rId8" Type="http://schemas.openxmlformats.org/officeDocument/2006/relationships/slideLayout" Target="../slideLayouts/slideLayout73.xml"/><Relationship Id="rId3" Type="http://schemas.openxmlformats.org/officeDocument/2006/relationships/slideLayout" Target="../slideLayouts/slideLayout68.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38" Type="http://schemas.openxmlformats.org/officeDocument/2006/relationships/slideLayout" Target="../slideLayouts/slideLayout103.xml"/><Relationship Id="rId46" Type="http://schemas.openxmlformats.org/officeDocument/2006/relationships/tags" Target="../tags/tag3.xml"/><Relationship Id="rId20" Type="http://schemas.openxmlformats.org/officeDocument/2006/relationships/slideLayout" Target="../slideLayouts/slideLayout85.xml"/><Relationship Id="rId41" Type="http://schemas.openxmlformats.org/officeDocument/2006/relationships/slideLayout" Target="../slideLayouts/slideLayout10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9" Type="http://schemas.openxmlformats.org/officeDocument/2006/relationships/slideLayout" Target="../slideLayouts/slideLayout147.xml"/><Relationship Id="rId21" Type="http://schemas.openxmlformats.org/officeDocument/2006/relationships/slideLayout" Target="../slideLayouts/slideLayout129.xml"/><Relationship Id="rId34" Type="http://schemas.openxmlformats.org/officeDocument/2006/relationships/slideLayout" Target="../slideLayouts/slideLayout142.xml"/><Relationship Id="rId42" Type="http://schemas.openxmlformats.org/officeDocument/2006/relationships/slideLayout" Target="../slideLayouts/slideLayout150.xml"/><Relationship Id="rId47" Type="http://schemas.openxmlformats.org/officeDocument/2006/relationships/oleObject" Target="../embeddings/oleObject4.bin"/><Relationship Id="rId7" Type="http://schemas.openxmlformats.org/officeDocument/2006/relationships/slideLayout" Target="../slideLayouts/slideLayout11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9" Type="http://schemas.openxmlformats.org/officeDocument/2006/relationships/slideLayout" Target="../slideLayouts/slideLayout137.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slideLayout" Target="../slideLayouts/slideLayout140.xml"/><Relationship Id="rId37" Type="http://schemas.openxmlformats.org/officeDocument/2006/relationships/slideLayout" Target="../slideLayouts/slideLayout145.xml"/><Relationship Id="rId40" Type="http://schemas.openxmlformats.org/officeDocument/2006/relationships/slideLayout" Target="../slideLayouts/slideLayout148.xml"/><Relationship Id="rId45" Type="http://schemas.openxmlformats.org/officeDocument/2006/relationships/vmlDrawing" Target="../drawings/vmlDrawing4.v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36" Type="http://schemas.openxmlformats.org/officeDocument/2006/relationships/slideLayout" Target="../slideLayouts/slideLayout144.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4" Type="http://schemas.openxmlformats.org/officeDocument/2006/relationships/theme" Target="../theme/theme6.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 Id="rId35" Type="http://schemas.openxmlformats.org/officeDocument/2006/relationships/slideLayout" Target="../slideLayouts/slideLayout143.xml"/><Relationship Id="rId43" Type="http://schemas.openxmlformats.org/officeDocument/2006/relationships/slideLayout" Target="../slideLayouts/slideLayout151.xml"/><Relationship Id="rId48" Type="http://schemas.openxmlformats.org/officeDocument/2006/relationships/image" Target="../media/image1.emf"/><Relationship Id="rId8" Type="http://schemas.openxmlformats.org/officeDocument/2006/relationships/slideLayout" Target="../slideLayouts/slideLayout116.xml"/><Relationship Id="rId3" Type="http://schemas.openxmlformats.org/officeDocument/2006/relationships/slideLayout" Target="../slideLayouts/slideLayout111.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slideLayout" Target="../slideLayouts/slideLayout141.xml"/><Relationship Id="rId38" Type="http://schemas.openxmlformats.org/officeDocument/2006/relationships/slideLayout" Target="../slideLayouts/slideLayout146.xml"/><Relationship Id="rId46" Type="http://schemas.openxmlformats.org/officeDocument/2006/relationships/tags" Target="../tags/tag4.xml"/><Relationship Id="rId20" Type="http://schemas.openxmlformats.org/officeDocument/2006/relationships/slideLayout" Target="../slideLayouts/slideLayout128.xml"/><Relationship Id="rId41"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theme" Target="../theme/theme7.xml"/><Relationship Id="rId3" Type="http://schemas.openxmlformats.org/officeDocument/2006/relationships/slideLayout" Target="../slideLayouts/slideLayout154.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image" Target="../media/image1.emf"/><Relationship Id="rId2" Type="http://schemas.openxmlformats.org/officeDocument/2006/relationships/slideLayout" Target="../slideLayouts/slideLayout153.xml"/><Relationship Id="rId16" Type="http://schemas.openxmlformats.org/officeDocument/2006/relationships/oleObject" Target="../embeddings/oleObject5.bin"/><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tags" Target="../tags/tag5.xml"/><Relationship Id="rId10" Type="http://schemas.openxmlformats.org/officeDocument/2006/relationships/slideLayout" Target="../slideLayouts/slideLayout161.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vmlDrawing" Target="../drawings/vmlDrawing5.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2"/>
            </p:custDataLst>
            <p:extLst>
              <p:ext uri="{D42A27DB-BD31-4B8C-83A1-F6EECF244321}">
                <p14:modId xmlns:p14="http://schemas.microsoft.com/office/powerpoint/2010/main" val="375416440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34" name="think-cell Slide" r:id="rId13" imgW="270" imgH="270" progId="TCLayout.ActiveDocument.1">
                  <p:embed/>
                </p:oleObj>
              </mc:Choice>
              <mc:Fallback>
                <p:oleObj name="think-cell Slide" r:id="rId13" imgW="270" imgH="270" progId="TCLayout.ActiveDocument.1">
                  <p:embed/>
                  <p:pic>
                    <p:nvPicPr>
                      <p:cNvPr id="4" name="Object 3" hidden="1"/>
                      <p:cNvPicPr/>
                      <p:nvPr/>
                    </p:nvPicPr>
                    <p:blipFill>
                      <a:blip r:embed="rId14"/>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607826471"/>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6"/>
            </p:custDataLst>
            <p:extLst>
              <p:ext uri="{D42A27DB-BD31-4B8C-83A1-F6EECF244321}">
                <p14:modId xmlns:p14="http://schemas.microsoft.com/office/powerpoint/2010/main" val="84975677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1274" name="think-cell Slide" r:id="rId47" imgW="270" imgH="270" progId="TCLayout.ActiveDocument.1">
                  <p:embed/>
                </p:oleObj>
              </mc:Choice>
              <mc:Fallback>
                <p:oleObj name="think-cell Slide" r:id="rId47" imgW="270" imgH="270" progId="TCLayout.ActiveDocument.1">
                  <p:embed/>
                  <p:pic>
                    <p:nvPicPr>
                      <p:cNvPr id="4" name="Object 3" hidden="1"/>
                      <p:cNvPicPr/>
                      <p:nvPr/>
                    </p:nvPicPr>
                    <p:blipFill>
                      <a:blip r:embed="rId48"/>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5" name="CaseCode"/>
          <p:cNvSpPr txBox="1"/>
          <p:nvPr/>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AI Strategic Growth Offering</a:t>
            </a:r>
          </a:p>
        </p:txBody>
      </p:sp>
      <p:sp>
        <p:nvSpPr>
          <p:cNvPr id="18" name="Copyright"/>
          <p:cNvSpPr txBox="1"/>
          <p:nvPr/>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Copyright © 2021 Deloitte Development LLC. All rights reserved.</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Tree>
    <p:extLst>
      <p:ext uri="{BB962C8B-B14F-4D97-AF65-F5344CB8AC3E}">
        <p14:creationId xmlns:p14="http://schemas.microsoft.com/office/powerpoint/2010/main" val="116268990"/>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04" r:id="rId18"/>
    <p:sldLayoutId id="2147483905" r:id="rId19"/>
    <p:sldLayoutId id="2147483906" r:id="rId20"/>
    <p:sldLayoutId id="2147483907" r:id="rId21"/>
    <p:sldLayoutId id="2147483908" r:id="rId22"/>
    <p:sldLayoutId id="2147483909" r:id="rId23"/>
    <p:sldLayoutId id="2147483910" r:id="rId24"/>
    <p:sldLayoutId id="2147483911" r:id="rId25"/>
    <p:sldLayoutId id="2147483912" r:id="rId26"/>
    <p:sldLayoutId id="2147483913" r:id="rId27"/>
    <p:sldLayoutId id="2147483914" r:id="rId28"/>
    <p:sldLayoutId id="2147483915" r:id="rId29"/>
    <p:sldLayoutId id="2147483916" r:id="rId30"/>
    <p:sldLayoutId id="2147483917" r:id="rId31"/>
    <p:sldLayoutId id="2147483918" r:id="rId32"/>
    <p:sldLayoutId id="2147483919" r:id="rId33"/>
    <p:sldLayoutId id="2147483920" r:id="rId34"/>
    <p:sldLayoutId id="2147483921" r:id="rId35"/>
    <p:sldLayoutId id="2147483922" r:id="rId36"/>
    <p:sldLayoutId id="2147483923" r:id="rId37"/>
    <p:sldLayoutId id="2147483924" r:id="rId38"/>
    <p:sldLayoutId id="2147483925" r:id="rId39"/>
    <p:sldLayoutId id="2147483926" r:id="rId40"/>
    <p:sldLayoutId id="2147483927" r:id="rId41"/>
    <p:sldLayoutId id="2147483928" r:id="rId42"/>
    <p:sldLayoutId id="2147484045" r:id="rId43"/>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4047491" y="1112872"/>
            <a:ext cx="4097019" cy="1508105"/>
          </a:xfrm>
          <a:prstGeom prst="rect">
            <a:avLst/>
          </a:prstGeom>
        </p:spPr>
        <p:txBody>
          <a:bodyPr wrap="square" lIns="0" tIns="0" rIns="0" bIns="0">
            <a:spAutoFit/>
          </a:bodyPr>
          <a:lstStyle>
            <a:lvl1pPr>
              <a:defRPr sz="9800" b="1" i="0">
                <a:solidFill>
                  <a:srgbClr val="C4D500"/>
                </a:solidFill>
                <a:latin typeface="Krungthep"/>
                <a:cs typeface="Krungthep"/>
              </a:defRPr>
            </a:lvl1pPr>
          </a:lstStyle>
          <a:p>
            <a:endParaRPr/>
          </a:p>
        </p:txBody>
      </p:sp>
      <p:sp>
        <p:nvSpPr>
          <p:cNvPr id="3" name="Holder 3"/>
          <p:cNvSpPr>
            <a:spLocks noGrp="1"/>
          </p:cNvSpPr>
          <p:nvPr>
            <p:ph type="body" idx="1"/>
          </p:nvPr>
        </p:nvSpPr>
        <p:spPr>
          <a:xfrm>
            <a:off x="609600" y="1577340"/>
            <a:ext cx="10972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20/2021</a:t>
            </a:fld>
            <a:endParaRPr lang="en-US"/>
          </a:p>
        </p:txBody>
      </p:sp>
      <p:sp>
        <p:nvSpPr>
          <p:cNvPr id="6" name="Holder 6"/>
          <p:cNvSpPr>
            <a:spLocks noGrp="1"/>
          </p:cNvSpPr>
          <p:nvPr>
            <p:ph type="sldNum" sz="quarter" idx="7"/>
          </p:nvPr>
        </p:nvSpPr>
        <p:spPr>
          <a:xfrm>
            <a:off x="8778240" y="6377940"/>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013199464"/>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Lst>
  <p:txStyles>
    <p:titleStyle>
      <a:lvl1pPr>
        <a:defRPr>
          <a:latin typeface="+mj-lt"/>
          <a:ea typeface="+mj-ea"/>
          <a:cs typeface="+mj-cs"/>
        </a:defRPr>
      </a:lvl1pPr>
    </p:titleStyle>
    <p:bodyStyle>
      <a:lvl1pPr marL="0">
        <a:defRPr>
          <a:latin typeface="+mn-lt"/>
          <a:ea typeface="+mn-ea"/>
          <a:cs typeface="+mn-cs"/>
        </a:defRPr>
      </a:lvl1pPr>
      <a:lvl2pPr marL="380985">
        <a:defRPr>
          <a:latin typeface="+mn-lt"/>
          <a:ea typeface="+mn-ea"/>
          <a:cs typeface="+mn-cs"/>
        </a:defRPr>
      </a:lvl2pPr>
      <a:lvl3pPr marL="761970">
        <a:defRPr>
          <a:latin typeface="+mn-lt"/>
          <a:ea typeface="+mn-ea"/>
          <a:cs typeface="+mn-cs"/>
        </a:defRPr>
      </a:lvl3pPr>
      <a:lvl4pPr marL="1142954">
        <a:defRPr>
          <a:latin typeface="+mn-lt"/>
          <a:ea typeface="+mn-ea"/>
          <a:cs typeface="+mn-cs"/>
        </a:defRPr>
      </a:lvl4pPr>
      <a:lvl5pPr marL="1523939">
        <a:defRPr>
          <a:latin typeface="+mn-lt"/>
          <a:ea typeface="+mn-ea"/>
          <a:cs typeface="+mn-cs"/>
        </a:defRPr>
      </a:lvl5pPr>
      <a:lvl6pPr marL="1904924">
        <a:defRPr>
          <a:latin typeface="+mn-lt"/>
          <a:ea typeface="+mn-ea"/>
          <a:cs typeface="+mn-cs"/>
        </a:defRPr>
      </a:lvl6pPr>
      <a:lvl7pPr marL="2285909">
        <a:defRPr>
          <a:latin typeface="+mn-lt"/>
          <a:ea typeface="+mn-ea"/>
          <a:cs typeface="+mn-cs"/>
        </a:defRPr>
      </a:lvl7pPr>
      <a:lvl8pPr marL="2666893">
        <a:defRPr>
          <a:latin typeface="+mn-lt"/>
          <a:ea typeface="+mn-ea"/>
          <a:cs typeface="+mn-cs"/>
        </a:defRPr>
      </a:lvl8pPr>
      <a:lvl9pPr marL="3047878">
        <a:defRPr>
          <a:latin typeface="+mn-lt"/>
          <a:ea typeface="+mn-ea"/>
          <a:cs typeface="+mn-cs"/>
        </a:defRPr>
      </a:lvl9pPr>
    </p:bodyStyle>
    <p:otherStyle>
      <a:lvl1pPr marL="0">
        <a:defRPr>
          <a:latin typeface="+mn-lt"/>
          <a:ea typeface="+mn-ea"/>
          <a:cs typeface="+mn-cs"/>
        </a:defRPr>
      </a:lvl1pPr>
      <a:lvl2pPr marL="380985">
        <a:defRPr>
          <a:latin typeface="+mn-lt"/>
          <a:ea typeface="+mn-ea"/>
          <a:cs typeface="+mn-cs"/>
        </a:defRPr>
      </a:lvl2pPr>
      <a:lvl3pPr marL="761970">
        <a:defRPr>
          <a:latin typeface="+mn-lt"/>
          <a:ea typeface="+mn-ea"/>
          <a:cs typeface="+mn-cs"/>
        </a:defRPr>
      </a:lvl3pPr>
      <a:lvl4pPr marL="1142954">
        <a:defRPr>
          <a:latin typeface="+mn-lt"/>
          <a:ea typeface="+mn-ea"/>
          <a:cs typeface="+mn-cs"/>
        </a:defRPr>
      </a:lvl4pPr>
      <a:lvl5pPr marL="1523939">
        <a:defRPr>
          <a:latin typeface="+mn-lt"/>
          <a:ea typeface="+mn-ea"/>
          <a:cs typeface="+mn-cs"/>
        </a:defRPr>
      </a:lvl5pPr>
      <a:lvl6pPr marL="1904924">
        <a:defRPr>
          <a:latin typeface="+mn-lt"/>
          <a:ea typeface="+mn-ea"/>
          <a:cs typeface="+mn-cs"/>
        </a:defRPr>
      </a:lvl6pPr>
      <a:lvl7pPr marL="2285909">
        <a:defRPr>
          <a:latin typeface="+mn-lt"/>
          <a:ea typeface="+mn-ea"/>
          <a:cs typeface="+mn-cs"/>
        </a:defRPr>
      </a:lvl7pPr>
      <a:lvl8pPr marL="2666893">
        <a:defRPr>
          <a:latin typeface="+mn-lt"/>
          <a:ea typeface="+mn-ea"/>
          <a:cs typeface="+mn-cs"/>
        </a:defRPr>
      </a:lvl8pPr>
      <a:lvl9pPr marL="3047878">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a:t>Click To Edit Master Title</a:t>
            </a:r>
          </a:p>
        </p:txBody>
      </p:sp>
      <p:sp>
        <p:nvSpPr>
          <p:cNvPr id="4" name="Rectangle 2"/>
          <p:cNvSpPr>
            <a:spLocks/>
          </p:cNvSpPr>
          <p:nvPr userDrawn="1"/>
        </p:nvSpPr>
        <p:spPr bwMode="auto">
          <a:xfrm>
            <a:off x="914719" y="6444147"/>
            <a:ext cx="3347070"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a:solidFill>
                  <a:schemeClr val="accent5">
                    <a:lumMod val="60000"/>
                    <a:lumOff val="40000"/>
                  </a:schemeClr>
                </a:solidFill>
                <a:latin typeface="Open Sans" charset="0"/>
                <a:ea typeface="Open Sans" charset="0"/>
                <a:cs typeface="Open Sans" charset="0"/>
                <a:sym typeface="Frutiger Next Pro Light" charset="0"/>
              </a:rPr>
              <a:t>  |  Copyright © 2021 Deloitte Development LLC. All rights reserved.</a:t>
            </a:r>
          </a:p>
        </p:txBody>
      </p:sp>
      <p:sp>
        <p:nvSpPr>
          <p:cNvPr id="5" name="CaseCode">
            <a:extLst>
              <a:ext uri="{FF2B5EF4-FFF2-40B4-BE49-F238E27FC236}">
                <a16:creationId xmlns:a16="http://schemas.microsoft.com/office/drawing/2014/main" id="{183E03C7-1719-414F-AADF-40130323FC9B}"/>
              </a:ext>
            </a:extLst>
          </p:cNvPr>
          <p:cNvSpPr txBox="1"/>
          <p:nvPr userDrawn="1"/>
        </p:nvSpPr>
        <p:spPr>
          <a:xfrm>
            <a:off x="6336000" y="6479151"/>
            <a:ext cx="4896560" cy="123111"/>
          </a:xfrm>
          <a:prstGeom prst="rect">
            <a:avLst/>
          </a:prstGeom>
          <a:noFill/>
        </p:spPr>
        <p:txBody>
          <a:bodyPr wrap="square" lIns="0" tIns="0" rIns="0" bIns="0" rtlCol="0">
            <a:spAutoFit/>
          </a:bodyPr>
          <a:lstStyle/>
          <a:p>
            <a:pPr algn="r">
              <a:buSzPct val="100000"/>
              <a:buFont typeface="Arial"/>
              <a:buNone/>
            </a:pPr>
            <a:r>
              <a:rPr lang="en-US" sz="800" kern="1200">
                <a:solidFill>
                  <a:schemeClr val="accent5">
                    <a:lumMod val="60000"/>
                    <a:lumOff val="40000"/>
                  </a:schemeClr>
                </a:solidFill>
                <a:latin typeface="Open Sans" charset="0"/>
                <a:ea typeface="Open Sans" charset="0"/>
                <a:cs typeface="Open Sans" charset="0"/>
              </a:rPr>
              <a:t>AI Strategic Growth Offering</a:t>
            </a:r>
          </a:p>
        </p:txBody>
      </p:sp>
    </p:spTree>
    <p:extLst>
      <p:ext uri="{BB962C8B-B14F-4D97-AF65-F5344CB8AC3E}">
        <p14:creationId xmlns:p14="http://schemas.microsoft.com/office/powerpoint/2010/main" val="3875302813"/>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xStyles>
    <p:titleStyle>
      <a:lvl1pPr algn="l" defTabSz="914400" rtl="0" eaLnBrk="1" latinLnBrk="0" hangingPunct="1">
        <a:lnSpc>
          <a:spcPct val="80000"/>
        </a:lnSpc>
        <a:spcBef>
          <a:spcPct val="0"/>
        </a:spcBef>
        <a:buNone/>
        <a:defRPr sz="2400" b="0" i="0" kern="1200" cap="none" spc="-100" baseline="0">
          <a:solidFill>
            <a:schemeClr val="tx1"/>
          </a:solidFill>
          <a:latin typeface="+mn-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6"/>
            </p:custDataLst>
            <p:extLst>
              <p:ext uri="{D42A27DB-BD31-4B8C-83A1-F6EECF244321}">
                <p14:modId xmlns:p14="http://schemas.microsoft.com/office/powerpoint/2010/main" val="2997706166"/>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71690" name="think-cell Slide" r:id="rId47" imgW="270" imgH="270" progId="TCLayout.ActiveDocument.1">
                  <p:embed/>
                </p:oleObj>
              </mc:Choice>
              <mc:Fallback>
                <p:oleObj name="think-cell Slide" r:id="rId47" imgW="270" imgH="270" progId="TCLayout.ActiveDocument.1">
                  <p:embed/>
                  <p:pic>
                    <p:nvPicPr>
                      <p:cNvPr id="4" name="Object 3" hidden="1"/>
                      <p:cNvPicPr/>
                      <p:nvPr/>
                    </p:nvPicPr>
                    <p:blipFill>
                      <a:blip r:embed="rId48"/>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5" name="CaseCode"/>
          <p:cNvSpPr txBox="1"/>
          <p:nvPr/>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AI Strategic Growth Offering</a:t>
            </a:r>
          </a:p>
        </p:txBody>
      </p:sp>
      <p:sp>
        <p:nvSpPr>
          <p:cNvPr id="18" name="Copyright"/>
          <p:cNvSpPr txBox="1"/>
          <p:nvPr/>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Copyright © 2021 Deloitte Development LLC. All rights reserved.</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Tree>
    <p:extLst>
      <p:ext uri="{BB962C8B-B14F-4D97-AF65-F5344CB8AC3E}">
        <p14:creationId xmlns:p14="http://schemas.microsoft.com/office/powerpoint/2010/main" val="722828794"/>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2" r:id="rId35"/>
    <p:sldLayoutId id="2147483993" r:id="rId36"/>
    <p:sldLayoutId id="2147483994" r:id="rId37"/>
    <p:sldLayoutId id="2147483995" r:id="rId38"/>
    <p:sldLayoutId id="2147483996" r:id="rId39"/>
    <p:sldLayoutId id="2147483997" r:id="rId40"/>
    <p:sldLayoutId id="2147483998" r:id="rId41"/>
    <p:sldLayoutId id="2147483999" r:id="rId42"/>
    <p:sldLayoutId id="2147484000" r:id="rId43"/>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6"/>
            </p:custDataLst>
            <p:extLst>
              <p:ext uri="{D42A27DB-BD31-4B8C-83A1-F6EECF244321}">
                <p14:modId xmlns:p14="http://schemas.microsoft.com/office/powerpoint/2010/main" val="309245561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16746" name="think-cell Slide" r:id="rId47" imgW="270" imgH="270" progId="TCLayout.ActiveDocument.1">
                  <p:embed/>
                </p:oleObj>
              </mc:Choice>
              <mc:Fallback>
                <p:oleObj name="think-cell Slide" r:id="rId47" imgW="270" imgH="270" progId="TCLayout.ActiveDocument.1">
                  <p:embed/>
                  <p:pic>
                    <p:nvPicPr>
                      <p:cNvPr id="4" name="Object 3" hidden="1"/>
                      <p:cNvPicPr/>
                      <p:nvPr/>
                    </p:nvPicPr>
                    <p:blipFill>
                      <a:blip r:embed="rId48"/>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5" name="CaseCode"/>
          <p:cNvSpPr txBox="1"/>
          <p:nvPr/>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AI Strategic Growth Offering</a:t>
            </a:r>
          </a:p>
        </p:txBody>
      </p:sp>
      <p:sp>
        <p:nvSpPr>
          <p:cNvPr id="18" name="Copyright"/>
          <p:cNvSpPr txBox="1"/>
          <p:nvPr/>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Copyright © 2021 Deloitte Development LLC. All rights reserved.</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endParaRPr>
          </a:p>
        </p:txBody>
      </p:sp>
    </p:spTree>
    <p:extLst>
      <p:ext uri="{BB962C8B-B14F-4D97-AF65-F5344CB8AC3E}">
        <p14:creationId xmlns:p14="http://schemas.microsoft.com/office/powerpoint/2010/main" val="654069722"/>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 id="2147484070" r:id="rId14"/>
    <p:sldLayoutId id="2147484071" r:id="rId15"/>
    <p:sldLayoutId id="2147484072" r:id="rId16"/>
    <p:sldLayoutId id="2147484073" r:id="rId17"/>
    <p:sldLayoutId id="2147484074" r:id="rId18"/>
    <p:sldLayoutId id="2147484075" r:id="rId19"/>
    <p:sldLayoutId id="2147484076" r:id="rId20"/>
    <p:sldLayoutId id="2147484077" r:id="rId21"/>
    <p:sldLayoutId id="2147484078" r:id="rId22"/>
    <p:sldLayoutId id="2147484079" r:id="rId23"/>
    <p:sldLayoutId id="2147484080" r:id="rId24"/>
    <p:sldLayoutId id="2147484081" r:id="rId25"/>
    <p:sldLayoutId id="2147484082" r:id="rId26"/>
    <p:sldLayoutId id="2147484083" r:id="rId27"/>
    <p:sldLayoutId id="2147484084" r:id="rId28"/>
    <p:sldLayoutId id="2147484085" r:id="rId29"/>
    <p:sldLayoutId id="2147484086" r:id="rId30"/>
    <p:sldLayoutId id="2147484087" r:id="rId31"/>
    <p:sldLayoutId id="2147484088" r:id="rId32"/>
    <p:sldLayoutId id="2147484089" r:id="rId33"/>
    <p:sldLayoutId id="2147484090" r:id="rId34"/>
    <p:sldLayoutId id="2147484091" r:id="rId35"/>
    <p:sldLayoutId id="2147484092" r:id="rId36"/>
    <p:sldLayoutId id="2147484093" r:id="rId37"/>
    <p:sldLayoutId id="2147484094" r:id="rId38"/>
    <p:sldLayoutId id="2147484095" r:id="rId39"/>
    <p:sldLayoutId id="2147484096" r:id="rId40"/>
    <p:sldLayoutId id="2147484097" r:id="rId41"/>
    <p:sldLayoutId id="2147484098" r:id="rId42"/>
    <p:sldLayoutId id="2147484099" r:id="rId43"/>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5"/>
            </p:custDataLst>
            <p:extLst>
              <p:ext uri="{D42A27DB-BD31-4B8C-83A1-F6EECF244321}">
                <p14:modId xmlns:p14="http://schemas.microsoft.com/office/powerpoint/2010/main" val="273089272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7768" name="think-cell Slide" r:id="rId16" imgW="270" imgH="270" progId="TCLayout.ActiveDocument.1">
                  <p:embed/>
                </p:oleObj>
              </mc:Choice>
              <mc:Fallback>
                <p:oleObj name="think-cell Slide" r:id="rId16" imgW="270" imgH="270" progId="TCLayout.ActiveDocument.1">
                  <p:embed/>
                  <p:pic>
                    <p:nvPicPr>
                      <p:cNvPr id="4" name="Object 3" hidden="1"/>
                      <p:cNvPicPr/>
                      <p:nvPr/>
                    </p:nvPicPr>
                    <p:blipFill>
                      <a:blip r:embed="rId17"/>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8" name="Copyright"/>
          <p:cNvSpPr txBox="1"/>
          <p:nvPr/>
        </p:nvSpPr>
        <p:spPr>
          <a:xfrm>
            <a:off x="469900" y="6477000"/>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800" b="0" noProof="0">
                <a:solidFill>
                  <a:schemeClr val="tx2"/>
                </a:solidFill>
                <a:latin typeface="Calibri Light" panose="020F0302020204030204" pitchFamily="34" charset="0"/>
                <a:cs typeface="Calibri Light" panose="020F0302020204030204" pitchFamily="34" charset="0"/>
              </a:rPr>
              <a:t>Copyright © 2021 Deloitte Development LLC. All rights reserved.</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23111"/>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800" b="0" noProof="0" smtClean="0">
                <a:solidFill>
                  <a:schemeClr val="tx2"/>
                </a:solidFill>
                <a:latin typeface="Calibri Light" panose="020F0302020204030204" pitchFamily="34" charset="0"/>
                <a:cs typeface="Calibri Light" panose="020F0302020204030204" pitchFamily="34" charset="0"/>
              </a:rPr>
              <a:pPr marL="0" indent="0" algn="r">
                <a:spcBef>
                  <a:spcPts val="600"/>
                </a:spcBef>
                <a:buSzPct val="100000"/>
                <a:buFont typeface="Arial"/>
                <a:buNone/>
              </a:pPr>
              <a:t>‹#›</a:t>
            </a:fld>
            <a:endParaRPr lang="en-US" sz="800" b="0" noProof="0">
              <a:solidFill>
                <a:schemeClr val="tx2"/>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736802271"/>
      </p:ext>
    </p:extLst>
  </p:cSld>
  <p:clrMap bg1="lt1" tx1="dk1" bg2="lt2" tx2="dk2" accent1="accent1" accent2="accent2" accent3="accent3" accent4="accent4" accent5="accent5" accent6="accent6" hlink="hlink" folHlink="folHlink"/>
  <p:sldLayoutIdLst>
    <p:sldLayoutId id="2147484101" r:id="rId1"/>
    <p:sldLayoutId id="2147484102" r:id="rId2"/>
    <p:sldLayoutId id="2147484103" r:id="rId3"/>
    <p:sldLayoutId id="2147484104" r:id="rId4"/>
    <p:sldLayoutId id="2147484105" r:id="rId5"/>
    <p:sldLayoutId id="2147484106" r:id="rId6"/>
    <p:sldLayoutId id="2147484107" r:id="rId7"/>
    <p:sldLayoutId id="2147484108" r:id="rId8"/>
    <p:sldLayoutId id="2147484109" r:id="rId9"/>
    <p:sldLayoutId id="2147484110" r:id="rId10"/>
    <p:sldLayoutId id="2147484111" r:id="rId11"/>
    <p:sldLayoutId id="2147484112" r:id="rId12"/>
  </p:sldLayoutIdLst>
  <p:transition>
    <p:fade/>
  </p:transition>
  <p:hf hdr="0" dt="0"/>
  <p:txStyles>
    <p:titleStyle>
      <a:lvl1pPr algn="l" defTabSz="914400" rtl="0" eaLnBrk="1" latinLnBrk="0" hangingPunct="1">
        <a:spcBef>
          <a:spcPct val="0"/>
        </a:spcBef>
        <a:buNone/>
        <a:defRPr sz="2000" kern="1200">
          <a:solidFill>
            <a:schemeClr val="tx2"/>
          </a:solidFill>
          <a:latin typeface="Calibri Light" panose="020F0302020204030204" pitchFamily="34" charset="0"/>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200" b="0" kern="1200">
          <a:solidFill>
            <a:schemeClr val="tx2"/>
          </a:solidFill>
          <a:latin typeface="Calibri Light" panose="020F0302020204030204" pitchFamily="34" charset="0"/>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2"/>
          </a:solidFill>
          <a:latin typeface="Calibri Light" panose="020F0302020204030204" pitchFamily="34" charset="0"/>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2"/>
          </a:solidFill>
          <a:latin typeface="Calibri Light" panose="020F0302020204030204" pitchFamily="34" charset="0"/>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2"/>
          </a:solidFill>
          <a:latin typeface="Calibri Light" panose="020F0302020204030204" pitchFamily="34" charset="0"/>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2"/>
          </a:solidFill>
          <a:latin typeface="Calibri Light" panose="020F0302020204030204" pitchFamily="34" charset="0"/>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64" pos="5098">
          <p15:clr>
            <a:srgbClr val="F26B43"/>
          </p15:clr>
        </p15:guide>
        <p15:guide id="65" orient="horz" pos="2160">
          <p15:clr>
            <a:srgbClr val="F26B43"/>
          </p15:clr>
        </p15:guide>
        <p15:guide id="66" orient="horz" pos="3968">
          <p15:clr>
            <a:srgbClr val="F26B43"/>
          </p15:clr>
        </p15:guide>
        <p15:guide id="67" pos="312">
          <p15:clr>
            <a:srgbClr val="F26B43"/>
          </p15:clr>
        </p15:guide>
        <p15:guide id="68" pos="7368">
          <p15:clr>
            <a:srgbClr val="F26B43"/>
          </p15:clr>
        </p15:guide>
        <p15:guide id="69" orient="horz" pos="245">
          <p15:clr>
            <a:srgbClr val="F26B43"/>
          </p15:clr>
        </p15:guide>
        <p15:guide id="70" orient="horz" pos="4081">
          <p15:clr>
            <a:srgbClr val="F26B43"/>
          </p15:clr>
        </p15:guide>
        <p15:guide id="71" pos="4986">
          <p15:clr>
            <a:srgbClr val="F26B43"/>
          </p15:clr>
        </p15:guide>
        <p15:guide id="72" pos="1382">
          <p15:clr>
            <a:srgbClr val="F26B43"/>
          </p15:clr>
        </p15:guide>
        <p15:guide id="73" pos="1496">
          <p15:clr>
            <a:srgbClr val="F26B43"/>
          </p15:clr>
        </p15:guide>
        <p15:guide id="74" pos="2581">
          <p15:clr>
            <a:srgbClr val="F26B43"/>
          </p15:clr>
        </p15:guide>
        <p15:guide id="75" pos="2695">
          <p15:clr>
            <a:srgbClr val="F26B43"/>
          </p15:clr>
        </p15:guide>
        <p15:guide id="76" pos="6185">
          <p15:clr>
            <a:srgbClr val="F26B43"/>
          </p15:clr>
        </p15:guide>
        <p15:guide id="77" pos="3783">
          <p15:clr>
            <a:srgbClr val="F26B43"/>
          </p15:clr>
        </p15:guide>
        <p15:guide id="78" pos="3896">
          <p15:clr>
            <a:srgbClr val="F26B43"/>
          </p15:clr>
        </p15:guide>
        <p15:guide id="79" pos="3840">
          <p15:clr>
            <a:srgbClr val="F26B43"/>
          </p15:clr>
        </p15:guide>
        <p15:guide id="80" pos="6299">
          <p15:clr>
            <a:srgbClr val="F26B43"/>
          </p15:clr>
        </p15:guide>
        <p15:guide id="81" orient="horz" pos="1049">
          <p15:clr>
            <a:srgbClr val="F26B43"/>
          </p15:clr>
        </p15:guide>
        <p15:guide id="82" orient="horz" pos="641">
          <p15:clr>
            <a:srgbClr val="F26B43"/>
          </p15:clr>
        </p15:guide>
        <p15:guide id="8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Layout" Target="../slideLayouts/slideLayout5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5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7.xml"/></Relationships>
</file>

<file path=ppt/slides/_rels/slide5.xml.rels><?xml version="1.0" encoding="UTF-8" standalone="yes"?>
<Relationships xmlns="http://schemas.openxmlformats.org/package/2006/relationships"><Relationship Id="rId8" Type="http://schemas.openxmlformats.org/officeDocument/2006/relationships/image" Target="../media/image12.jpeg"/><Relationship Id="rId13" Type="http://schemas.openxmlformats.org/officeDocument/2006/relationships/image" Target="../media/image17.png"/><Relationship Id="rId18" Type="http://schemas.openxmlformats.org/officeDocument/2006/relationships/image" Target="../media/image22.png"/><Relationship Id="rId26" Type="http://schemas.openxmlformats.org/officeDocument/2006/relationships/image" Target="../media/image30.png"/><Relationship Id="rId3" Type="http://schemas.openxmlformats.org/officeDocument/2006/relationships/image" Target="../media/image7.png"/><Relationship Id="rId21" Type="http://schemas.openxmlformats.org/officeDocument/2006/relationships/image" Target="../media/image25.pn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png"/><Relationship Id="rId25" Type="http://schemas.openxmlformats.org/officeDocument/2006/relationships/image" Target="../media/image29.png"/><Relationship Id="rId2" Type="http://schemas.openxmlformats.org/officeDocument/2006/relationships/notesSlide" Target="../notesSlides/notesSlide3.xml"/><Relationship Id="rId16" Type="http://schemas.openxmlformats.org/officeDocument/2006/relationships/image" Target="../media/image20.png"/><Relationship Id="rId20" Type="http://schemas.openxmlformats.org/officeDocument/2006/relationships/image" Target="../media/image24.png"/><Relationship Id="rId1" Type="http://schemas.openxmlformats.org/officeDocument/2006/relationships/slideLayout" Target="../slideLayouts/slideLayout97.xml"/><Relationship Id="rId6" Type="http://schemas.openxmlformats.org/officeDocument/2006/relationships/image" Target="../media/image10.png"/><Relationship Id="rId11" Type="http://schemas.openxmlformats.org/officeDocument/2006/relationships/image" Target="../media/image15.png"/><Relationship Id="rId24" Type="http://schemas.openxmlformats.org/officeDocument/2006/relationships/image" Target="../media/image28.png"/><Relationship Id="rId5" Type="http://schemas.openxmlformats.org/officeDocument/2006/relationships/image" Target="../media/image9.png"/><Relationship Id="rId15" Type="http://schemas.openxmlformats.org/officeDocument/2006/relationships/image" Target="../media/image19.png"/><Relationship Id="rId23" Type="http://schemas.openxmlformats.org/officeDocument/2006/relationships/image" Target="../media/image27.png"/><Relationship Id="rId10" Type="http://schemas.openxmlformats.org/officeDocument/2006/relationships/image" Target="../media/image14.png"/><Relationship Id="rId19" Type="http://schemas.openxmlformats.org/officeDocument/2006/relationships/image" Target="../media/image23.png"/><Relationship Id="rId4" Type="http://schemas.openxmlformats.org/officeDocument/2006/relationships/image" Target="../media/image8.png"/><Relationship Id="rId9" Type="http://schemas.openxmlformats.org/officeDocument/2006/relationships/image" Target="../media/image13.jpeg"/><Relationship Id="rId14" Type="http://schemas.openxmlformats.org/officeDocument/2006/relationships/image" Target="../media/image18.png"/><Relationship Id="rId22" Type="http://schemas.openxmlformats.org/officeDocument/2006/relationships/image" Target="../media/image26.png"/><Relationship Id="rId27" Type="http://schemas.openxmlformats.org/officeDocument/2006/relationships/image" Target="../media/image3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0.xml"/></Relationships>
</file>

<file path=ppt/slides/_rels/slide7.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37.png"/><Relationship Id="rId18" Type="http://schemas.openxmlformats.org/officeDocument/2006/relationships/image" Target="../media/image39.png"/><Relationship Id="rId3" Type="http://schemas.openxmlformats.org/officeDocument/2006/relationships/image" Target="../media/image32.jpeg"/><Relationship Id="rId7" Type="http://schemas.openxmlformats.org/officeDocument/2006/relationships/image" Target="../media/image35.png"/><Relationship Id="rId12" Type="http://schemas.openxmlformats.org/officeDocument/2006/relationships/image" Target="../media/image22.png"/><Relationship Id="rId17" Type="http://schemas.openxmlformats.org/officeDocument/2006/relationships/image" Target="../media/image25.png"/><Relationship Id="rId2" Type="http://schemas.openxmlformats.org/officeDocument/2006/relationships/notesSlide" Target="../notesSlides/notesSlide5.xml"/><Relationship Id="rId16" Type="http://schemas.openxmlformats.org/officeDocument/2006/relationships/image" Target="../media/image29.png"/><Relationship Id="rId1" Type="http://schemas.openxmlformats.org/officeDocument/2006/relationships/slideLayout" Target="../slideLayouts/slideLayout162.xml"/><Relationship Id="rId6" Type="http://schemas.openxmlformats.org/officeDocument/2006/relationships/image" Target="../media/image34.png"/><Relationship Id="rId11" Type="http://schemas.openxmlformats.org/officeDocument/2006/relationships/image" Target="../media/image21.png"/><Relationship Id="rId5" Type="http://schemas.openxmlformats.org/officeDocument/2006/relationships/image" Target="../media/image24.png"/><Relationship Id="rId15" Type="http://schemas.openxmlformats.org/officeDocument/2006/relationships/image" Target="../media/image28.png"/><Relationship Id="rId10" Type="http://schemas.openxmlformats.org/officeDocument/2006/relationships/image" Target="../media/image20.png"/><Relationship Id="rId19" Type="http://schemas.openxmlformats.org/officeDocument/2006/relationships/hyperlink" Target="https://www.km.deloitteresources.com/sites/live/_layouts/dtts.dr.kamdocumentforms/displayformredirect.aspx?id=KMIP-8286223" TargetMode="External"/><Relationship Id="rId4" Type="http://schemas.openxmlformats.org/officeDocument/2006/relationships/image" Target="../media/image33.png"/><Relationship Id="rId9" Type="http://schemas.openxmlformats.org/officeDocument/2006/relationships/image" Target="../media/image19.png"/><Relationship Id="rId14" Type="http://schemas.openxmlformats.org/officeDocument/2006/relationships/image" Target="../media/image38.png"/></Relationships>
</file>

<file path=ppt/slides/_rels/slide8.xml.rels><?xml version="1.0" encoding="UTF-8" standalone="yes"?>
<Relationships xmlns="http://schemas.openxmlformats.org/package/2006/relationships"><Relationship Id="rId3" Type="http://schemas.openxmlformats.org/officeDocument/2006/relationships/hyperlink" Target="https://amedeloitte.sharepoint.com/:x:/s/AIAcademy/Eb-K_6oOLXVMqIoFc1o1FZMBCcWG-eL63IANkZq69iN24A?e=ATKVXx" TargetMode="External"/><Relationship Id="rId2" Type="http://schemas.openxmlformats.org/officeDocument/2006/relationships/notesSlide" Target="../notesSlides/notesSlide6.xml"/><Relationship Id="rId1" Type="http://schemas.openxmlformats.org/officeDocument/2006/relationships/slideLayout" Target="../slideLayouts/slideLayout97.xml"/><Relationship Id="rId5" Type="http://schemas.openxmlformats.org/officeDocument/2006/relationships/hyperlink" Target="https://people.deloitte/search/7a0959ff-6bdc-4076-ebf7-08d9b6233ca7" TargetMode="External"/><Relationship Id="rId4" Type="http://schemas.openxmlformats.org/officeDocument/2006/relationships/hyperlink" Target="mailto:spati@deloitte.com;schandramohan@deloitte.com?subject=Staffing%20Deloitte%20AI%20Academy%20Graduate"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mailto:spati@deloitte.com" TargetMode="External"/><Relationship Id="rId13" Type="http://schemas.openxmlformats.org/officeDocument/2006/relationships/image" Target="../media/image44.jpeg"/><Relationship Id="rId18" Type="http://schemas.openxmlformats.org/officeDocument/2006/relationships/hyperlink" Target="mailto:edbowen@deloitte.com" TargetMode="External"/><Relationship Id="rId3" Type="http://schemas.openxmlformats.org/officeDocument/2006/relationships/hyperlink" Target="mailto:usiaiacademy@deloitte.com" TargetMode="External"/><Relationship Id="rId7" Type="http://schemas.openxmlformats.org/officeDocument/2006/relationships/hyperlink" Target="mailto:isaif@deloitte.com" TargetMode="External"/><Relationship Id="rId12" Type="http://schemas.openxmlformats.org/officeDocument/2006/relationships/hyperlink" Target="mailto:jimrowan@deloitte.com" TargetMode="External"/><Relationship Id="rId17" Type="http://schemas.openxmlformats.org/officeDocument/2006/relationships/image" Target="../media/image46.jpeg"/><Relationship Id="rId2" Type="http://schemas.openxmlformats.org/officeDocument/2006/relationships/notesSlide" Target="../notesSlides/notesSlide7.xml"/><Relationship Id="rId16" Type="http://schemas.openxmlformats.org/officeDocument/2006/relationships/hyperlink" Target="mailto:schandramohan@deloitte.com" TargetMode="External"/><Relationship Id="rId1" Type="http://schemas.openxmlformats.org/officeDocument/2006/relationships/slideLayout" Target="../slideLayouts/slideLayout97.xml"/><Relationship Id="rId6" Type="http://schemas.openxmlformats.org/officeDocument/2006/relationships/hyperlink" Target="mailto:nmittal@deloitte.com" TargetMode="External"/><Relationship Id="rId11" Type="http://schemas.openxmlformats.org/officeDocument/2006/relationships/hyperlink" Target="mailto:charleychen@deloitte.com" TargetMode="External"/><Relationship Id="rId5" Type="http://schemas.openxmlformats.org/officeDocument/2006/relationships/image" Target="../media/image41.jpeg"/><Relationship Id="rId15" Type="http://schemas.openxmlformats.org/officeDocument/2006/relationships/image" Target="../media/image45.jpeg"/><Relationship Id="rId10" Type="http://schemas.openxmlformats.org/officeDocument/2006/relationships/image" Target="../media/image43.jpeg"/><Relationship Id="rId19" Type="http://schemas.openxmlformats.org/officeDocument/2006/relationships/image" Target="../media/image47.jpeg"/><Relationship Id="rId4" Type="http://schemas.openxmlformats.org/officeDocument/2006/relationships/image" Target="../media/image40.jpeg"/><Relationship Id="rId9" Type="http://schemas.openxmlformats.org/officeDocument/2006/relationships/image" Target="../media/image42.jpeg"/><Relationship Id="rId14" Type="http://schemas.openxmlformats.org/officeDocument/2006/relationships/hyperlink" Target="mailto:cscoby@deloitte.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3611879" y="960121"/>
            <a:ext cx="4968240" cy="4762214"/>
          </a:xfrm>
          <a:prstGeom prst="rect">
            <a:avLst/>
          </a:prstGeom>
        </p:spPr>
      </p:pic>
      <p:sp>
        <p:nvSpPr>
          <p:cNvPr id="3" name="object 3"/>
          <p:cNvSpPr txBox="1"/>
          <p:nvPr/>
        </p:nvSpPr>
        <p:spPr>
          <a:xfrm>
            <a:off x="381001" y="5423470"/>
            <a:ext cx="8083989" cy="1229353"/>
          </a:xfrm>
          <a:prstGeom prst="rect">
            <a:avLst/>
          </a:prstGeom>
        </p:spPr>
        <p:txBody>
          <a:bodyPr vert="horz" wrap="square" lIns="0" tIns="10583" rIns="0" bIns="0" rtlCol="0">
            <a:spAutoFit/>
          </a:bodyPr>
          <a:lstStyle/>
          <a:p>
            <a:pPr marL="10583" marR="0" lvl="0" indent="0" algn="l" defTabSz="761970" rtl="0" eaLnBrk="1" fontAlgn="auto" latinLnBrk="0" hangingPunct="1">
              <a:lnSpc>
                <a:spcPts val="3917"/>
              </a:lnSpc>
              <a:spcBef>
                <a:spcPts val="83"/>
              </a:spcBef>
              <a:spcAft>
                <a:spcPts val="0"/>
              </a:spcAft>
              <a:buClrTx/>
              <a:buSzTx/>
              <a:buFontTx/>
              <a:buNone/>
              <a:tabLst/>
              <a:defRPr/>
            </a:pPr>
            <a:r>
              <a:rPr kumimoji="0" sz="3333" b="0" i="0" u="none" strike="noStrike" kern="1200" cap="none" spc="-104" normalizeH="0" baseline="0" noProof="0" dirty="0">
                <a:ln>
                  <a:noFill/>
                </a:ln>
                <a:solidFill>
                  <a:srgbClr val="85BC24"/>
                </a:solidFill>
                <a:effectLst/>
                <a:uLnTx/>
                <a:uFillTx/>
                <a:latin typeface="OpenSans-Light"/>
                <a:ea typeface="+mn-ea"/>
                <a:cs typeface="Calibri Light" panose="020F0302020204030204" pitchFamily="34" charset="0"/>
              </a:rPr>
              <a:t>D</a:t>
            </a:r>
            <a:r>
              <a:rPr kumimoji="0" sz="3333" b="0" i="0" u="none" strike="noStrike" kern="1200" cap="none" spc="-121" normalizeH="0" baseline="0" noProof="0" dirty="0">
                <a:ln>
                  <a:noFill/>
                </a:ln>
                <a:solidFill>
                  <a:srgbClr val="85BC24"/>
                </a:solidFill>
                <a:effectLst/>
                <a:uLnTx/>
                <a:uFillTx/>
                <a:latin typeface="OpenSans-Light"/>
                <a:ea typeface="+mn-ea"/>
                <a:cs typeface="Calibri Light" panose="020F0302020204030204" pitchFamily="34" charset="0"/>
              </a:rPr>
              <a:t>e</a:t>
            </a:r>
            <a:r>
              <a:rPr kumimoji="0" sz="3333" b="0" i="0" u="none" strike="noStrike" kern="1200" cap="none" spc="-117" normalizeH="0" baseline="0" noProof="0" dirty="0">
                <a:ln>
                  <a:noFill/>
                </a:ln>
                <a:solidFill>
                  <a:srgbClr val="85BC24"/>
                </a:solidFill>
                <a:effectLst/>
                <a:uLnTx/>
                <a:uFillTx/>
                <a:latin typeface="OpenSans-Light"/>
                <a:ea typeface="+mn-ea"/>
                <a:cs typeface="Calibri Light" panose="020F0302020204030204" pitchFamily="34" charset="0"/>
              </a:rPr>
              <a:t>l</a:t>
            </a:r>
            <a:r>
              <a:rPr kumimoji="0" sz="3333" b="0" i="0" u="none" strike="noStrike" kern="1200" cap="none" spc="-125" normalizeH="0" baseline="0" noProof="0" dirty="0">
                <a:ln>
                  <a:noFill/>
                </a:ln>
                <a:solidFill>
                  <a:srgbClr val="85BC24"/>
                </a:solidFill>
                <a:effectLst/>
                <a:uLnTx/>
                <a:uFillTx/>
                <a:latin typeface="OpenSans-Light"/>
                <a:ea typeface="+mn-ea"/>
                <a:cs typeface="Calibri Light" panose="020F0302020204030204" pitchFamily="34" charset="0"/>
              </a:rPr>
              <a:t>o</a:t>
            </a:r>
            <a:r>
              <a:rPr kumimoji="0" sz="3333" b="0" i="0" u="none" strike="noStrike" kern="1200" cap="none" spc="-75" normalizeH="0" baseline="0" noProof="0" dirty="0">
                <a:ln>
                  <a:noFill/>
                </a:ln>
                <a:solidFill>
                  <a:srgbClr val="85BC24"/>
                </a:solidFill>
                <a:effectLst/>
                <a:uLnTx/>
                <a:uFillTx/>
                <a:latin typeface="OpenSans-Light"/>
                <a:ea typeface="+mn-ea"/>
                <a:cs typeface="Calibri Light" panose="020F0302020204030204" pitchFamily="34" charset="0"/>
              </a:rPr>
              <a:t>i</a:t>
            </a:r>
            <a:r>
              <a:rPr kumimoji="0" sz="3333" b="0" i="0" u="none" strike="noStrike" kern="1200" cap="none" spc="12" normalizeH="0" baseline="0" noProof="0" dirty="0">
                <a:ln>
                  <a:noFill/>
                </a:ln>
                <a:solidFill>
                  <a:srgbClr val="85BC24"/>
                </a:solidFill>
                <a:effectLst/>
                <a:uLnTx/>
                <a:uFillTx/>
                <a:latin typeface="OpenSans-Light"/>
                <a:ea typeface="+mn-ea"/>
                <a:cs typeface="Calibri Light" panose="020F0302020204030204" pitchFamily="34" charset="0"/>
              </a:rPr>
              <a:t>t</a:t>
            </a:r>
            <a:r>
              <a:rPr kumimoji="0" sz="3333" b="0" i="0" u="none" strike="noStrike" kern="1200" cap="none" spc="-162" normalizeH="0" baseline="0" noProof="0" dirty="0">
                <a:ln>
                  <a:noFill/>
                </a:ln>
                <a:solidFill>
                  <a:srgbClr val="85BC24"/>
                </a:solidFill>
                <a:effectLst/>
                <a:uLnTx/>
                <a:uFillTx/>
                <a:latin typeface="OpenSans-Light"/>
                <a:ea typeface="+mn-ea"/>
                <a:cs typeface="Calibri Light" panose="020F0302020204030204" pitchFamily="34" charset="0"/>
              </a:rPr>
              <a:t>t</a:t>
            </a:r>
            <a:r>
              <a:rPr kumimoji="0" sz="3333" b="0" i="0" u="none" strike="noStrike" kern="1200" cap="none" spc="0" normalizeH="0" baseline="0" noProof="0" dirty="0">
                <a:ln>
                  <a:noFill/>
                </a:ln>
                <a:solidFill>
                  <a:srgbClr val="85BC24"/>
                </a:solidFill>
                <a:effectLst/>
                <a:uLnTx/>
                <a:uFillTx/>
                <a:latin typeface="OpenSans-Light"/>
                <a:ea typeface="+mn-ea"/>
                <a:cs typeface="Calibri Light" panose="020F0302020204030204" pitchFamily="34" charset="0"/>
              </a:rPr>
              <a:t>e</a:t>
            </a:r>
            <a:r>
              <a:rPr kumimoji="0" sz="3333" b="0" i="0" u="none" strike="noStrike" kern="1200" cap="none" spc="-133" normalizeH="0" baseline="0" noProof="0" dirty="0">
                <a:ln>
                  <a:noFill/>
                </a:ln>
                <a:solidFill>
                  <a:srgbClr val="85BC24"/>
                </a:solidFill>
                <a:effectLst/>
                <a:uLnTx/>
                <a:uFillTx/>
                <a:latin typeface="OpenSans-Light"/>
                <a:ea typeface="+mn-ea"/>
                <a:cs typeface="Calibri Light" panose="020F0302020204030204" pitchFamily="34" charset="0"/>
              </a:rPr>
              <a:t> </a:t>
            </a:r>
            <a:r>
              <a:rPr kumimoji="0" sz="3333" b="0" i="0" u="none" strike="noStrike" kern="1200" cap="none" spc="-62" normalizeH="0" baseline="0" noProof="0" dirty="0">
                <a:ln>
                  <a:noFill/>
                </a:ln>
                <a:solidFill>
                  <a:srgbClr val="85BC24"/>
                </a:solidFill>
                <a:effectLst/>
                <a:uLnTx/>
                <a:uFillTx/>
                <a:latin typeface="OpenSans-Light"/>
                <a:ea typeface="+mn-ea"/>
                <a:cs typeface="Calibri Light" panose="020F0302020204030204" pitchFamily="34" charset="0"/>
              </a:rPr>
              <a:t>A</a:t>
            </a:r>
            <a:r>
              <a:rPr kumimoji="0" sz="3333" b="0" i="0" u="none" strike="noStrike" kern="1200" cap="none" spc="0" normalizeH="0" baseline="0" noProof="0" dirty="0">
                <a:ln>
                  <a:noFill/>
                </a:ln>
                <a:solidFill>
                  <a:srgbClr val="85BC24"/>
                </a:solidFill>
                <a:effectLst/>
                <a:uLnTx/>
                <a:uFillTx/>
                <a:latin typeface="OpenSans-Light"/>
                <a:ea typeface="+mn-ea"/>
                <a:cs typeface="Calibri Light" panose="020F0302020204030204" pitchFamily="34" charset="0"/>
              </a:rPr>
              <a:t>I</a:t>
            </a:r>
            <a:r>
              <a:rPr kumimoji="0" sz="3333" b="0" i="0" u="none" strike="noStrike" kern="1200" cap="none" spc="-133" normalizeH="0" baseline="0" noProof="0" dirty="0">
                <a:ln>
                  <a:noFill/>
                </a:ln>
                <a:solidFill>
                  <a:srgbClr val="85BC24"/>
                </a:solidFill>
                <a:effectLst/>
                <a:uLnTx/>
                <a:uFillTx/>
                <a:latin typeface="OpenSans-Light"/>
                <a:ea typeface="+mn-ea"/>
                <a:cs typeface="Calibri Light" panose="020F0302020204030204" pitchFamily="34" charset="0"/>
              </a:rPr>
              <a:t> </a:t>
            </a:r>
            <a:r>
              <a:rPr kumimoji="0" sz="3333" b="0" i="0" u="none" strike="noStrike" kern="1200" cap="none" spc="-108" normalizeH="0" baseline="0" noProof="0" dirty="0" err="1">
                <a:ln>
                  <a:noFill/>
                </a:ln>
                <a:solidFill>
                  <a:srgbClr val="85BC24"/>
                </a:solidFill>
                <a:effectLst/>
                <a:uLnTx/>
                <a:uFillTx/>
                <a:latin typeface="OpenSans-Light"/>
                <a:ea typeface="+mn-ea"/>
                <a:cs typeface="Calibri Light" panose="020F0302020204030204" pitchFamily="34" charset="0"/>
              </a:rPr>
              <a:t>A</a:t>
            </a:r>
            <a:r>
              <a:rPr kumimoji="0" sz="3333" b="0" i="0" u="none" strike="noStrike" kern="1200" cap="none" spc="-71" normalizeH="0" baseline="0" noProof="0" dirty="0" err="1">
                <a:ln>
                  <a:noFill/>
                </a:ln>
                <a:solidFill>
                  <a:srgbClr val="85BC24"/>
                </a:solidFill>
                <a:effectLst/>
                <a:uLnTx/>
                <a:uFillTx/>
                <a:latin typeface="OpenSans-Light"/>
                <a:ea typeface="+mn-ea"/>
                <a:cs typeface="Calibri Light" panose="020F0302020204030204" pitchFamily="34" charset="0"/>
              </a:rPr>
              <a:t>c</a:t>
            </a:r>
            <a:r>
              <a:rPr kumimoji="0" sz="3333" b="0" i="0" u="none" strike="noStrike" kern="1200" cap="none" spc="-108" normalizeH="0" baseline="0" noProof="0" dirty="0" err="1">
                <a:ln>
                  <a:noFill/>
                </a:ln>
                <a:solidFill>
                  <a:srgbClr val="85BC24"/>
                </a:solidFill>
                <a:effectLst/>
                <a:uLnTx/>
                <a:uFillTx/>
                <a:latin typeface="OpenSans-Light"/>
                <a:ea typeface="+mn-ea"/>
                <a:cs typeface="Calibri Light" panose="020F0302020204030204" pitchFamily="34" charset="0"/>
              </a:rPr>
              <a:t>a</a:t>
            </a:r>
            <a:r>
              <a:rPr kumimoji="0" sz="3333" b="0" i="0" u="none" strike="noStrike" kern="1200" cap="none" spc="-121" normalizeH="0" baseline="0" noProof="0" dirty="0" err="1">
                <a:ln>
                  <a:noFill/>
                </a:ln>
                <a:solidFill>
                  <a:srgbClr val="85BC24"/>
                </a:solidFill>
                <a:effectLst/>
                <a:uLnTx/>
                <a:uFillTx/>
                <a:latin typeface="OpenSans-Light"/>
                <a:ea typeface="+mn-ea"/>
                <a:cs typeface="Calibri Light" panose="020F0302020204030204" pitchFamily="34" charset="0"/>
              </a:rPr>
              <a:t>d</a:t>
            </a:r>
            <a:r>
              <a:rPr kumimoji="0" sz="3333" b="0" i="0" u="none" strike="noStrike" kern="1200" cap="none" spc="-129" normalizeH="0" baseline="0" noProof="0" dirty="0" err="1">
                <a:ln>
                  <a:noFill/>
                </a:ln>
                <a:solidFill>
                  <a:srgbClr val="85BC24"/>
                </a:solidFill>
                <a:effectLst/>
                <a:uLnTx/>
                <a:uFillTx/>
                <a:latin typeface="OpenSans-Light"/>
                <a:ea typeface="+mn-ea"/>
                <a:cs typeface="Calibri Light" panose="020F0302020204030204" pitchFamily="34" charset="0"/>
              </a:rPr>
              <a:t>e</a:t>
            </a:r>
            <a:r>
              <a:rPr kumimoji="0" sz="3333" b="0" i="0" u="none" strike="noStrike" kern="1200" cap="none" spc="-112" normalizeH="0" baseline="0" noProof="0" dirty="0" err="1">
                <a:ln>
                  <a:noFill/>
                </a:ln>
                <a:solidFill>
                  <a:srgbClr val="85BC24"/>
                </a:solidFill>
                <a:effectLst/>
                <a:uLnTx/>
                <a:uFillTx/>
                <a:latin typeface="OpenSans-Light"/>
                <a:ea typeface="+mn-ea"/>
                <a:cs typeface="Calibri Light" panose="020F0302020204030204" pitchFamily="34" charset="0"/>
              </a:rPr>
              <a:t>m</a:t>
            </a:r>
            <a:r>
              <a:rPr kumimoji="0" sz="3333" b="0" i="0" u="none" strike="noStrike" kern="1200" cap="none" spc="0" normalizeH="0" baseline="0" noProof="0" dirty="0" err="1">
                <a:ln>
                  <a:noFill/>
                </a:ln>
                <a:solidFill>
                  <a:srgbClr val="85BC24"/>
                </a:solidFill>
                <a:effectLst/>
                <a:uLnTx/>
                <a:uFillTx/>
                <a:latin typeface="OpenSans-Light"/>
                <a:ea typeface="+mn-ea"/>
                <a:cs typeface="Calibri Light" panose="020F0302020204030204" pitchFamily="34" charset="0"/>
              </a:rPr>
              <a:t>y</a:t>
            </a:r>
            <a:r>
              <a:rPr kumimoji="0" lang="en-US" sz="3333" b="0" i="0" u="none" strike="noStrike" kern="1200" cap="none" spc="0" normalizeH="0" baseline="30000" noProof="0" dirty="0" err="1">
                <a:ln>
                  <a:noFill/>
                </a:ln>
                <a:solidFill>
                  <a:srgbClr val="85BC24"/>
                </a:solidFill>
                <a:effectLst/>
                <a:uLnTx/>
                <a:uFillTx/>
                <a:latin typeface="OpenSans-Light"/>
                <a:ea typeface="+mn-ea"/>
                <a:cs typeface="Calibri Light" panose="020F0302020204030204" pitchFamily="34" charset="0"/>
              </a:rPr>
              <a:t>TM</a:t>
            </a:r>
            <a:endParaRPr kumimoji="0" sz="3333" b="0" i="0" u="none" strike="noStrike" kern="1200" cap="none" spc="0" normalizeH="0" baseline="30000" noProof="0" dirty="0">
              <a:ln>
                <a:noFill/>
              </a:ln>
              <a:solidFill>
                <a:prstClr val="black"/>
              </a:solidFill>
              <a:effectLst/>
              <a:uLnTx/>
              <a:uFillTx/>
              <a:latin typeface="OpenSans-Light"/>
              <a:ea typeface="+mn-ea"/>
              <a:cs typeface="Calibri Light" panose="020F0302020204030204" pitchFamily="34" charset="0"/>
            </a:endParaRPr>
          </a:p>
          <a:p>
            <a:pPr marL="10583" marR="0" lvl="0" indent="0" algn="l" defTabSz="761970" rtl="0" eaLnBrk="1" fontAlgn="auto" latinLnBrk="0" hangingPunct="1">
              <a:lnSpc>
                <a:spcPts val="2917"/>
              </a:lnSpc>
              <a:spcBef>
                <a:spcPts val="0"/>
              </a:spcBef>
              <a:spcAft>
                <a:spcPts val="0"/>
              </a:spcAft>
              <a:buClrTx/>
              <a:buSzTx/>
              <a:buFontTx/>
              <a:buNone/>
              <a:tabLst/>
              <a:defRPr/>
            </a:pPr>
            <a:r>
              <a:rPr kumimoji="0" lang="en-US" sz="2500" b="0" i="0" u="none" strike="noStrike" kern="1200" cap="none" spc="-33" normalizeH="0" baseline="0" noProof="0" dirty="0">
                <a:ln>
                  <a:noFill/>
                </a:ln>
                <a:solidFill>
                  <a:srgbClr val="FFFFFF"/>
                </a:solidFill>
                <a:effectLst/>
                <a:uLnTx/>
                <a:uFillTx/>
                <a:latin typeface="OpenSans-Light"/>
                <a:ea typeface="+mn-ea"/>
                <a:cs typeface="Calibri Light" panose="020F0302020204030204" pitchFamily="34" charset="0"/>
              </a:rPr>
              <a:t>Deployment Handbook (USI December 2021 Class)</a:t>
            </a:r>
          </a:p>
          <a:p>
            <a:pPr marL="10583" marR="0" lvl="0" indent="0" algn="l" defTabSz="761970" rtl="0" eaLnBrk="1" fontAlgn="auto" latinLnBrk="0" hangingPunct="1">
              <a:lnSpc>
                <a:spcPts val="2917"/>
              </a:lnSpc>
              <a:spcBef>
                <a:spcPts val="0"/>
              </a:spcBef>
              <a:spcAft>
                <a:spcPts val="0"/>
              </a:spcAft>
              <a:buClrTx/>
              <a:buSzTx/>
              <a:buFontTx/>
              <a:buNone/>
              <a:tabLst/>
              <a:defRPr/>
            </a:pPr>
            <a:r>
              <a:rPr kumimoji="0" lang="en-US" sz="2000" b="0" i="0" u="none" strike="noStrike" kern="1200" cap="none" spc="-33" normalizeH="0" baseline="0" noProof="0" dirty="0">
                <a:ln>
                  <a:noFill/>
                </a:ln>
                <a:solidFill>
                  <a:srgbClr val="FFFFFF"/>
                </a:solidFill>
                <a:effectLst/>
                <a:uLnTx/>
                <a:uFillTx/>
                <a:latin typeface="OpenSans-Light"/>
                <a:ea typeface="+mn-ea"/>
                <a:cs typeface="Calibri Light" panose="020F0302020204030204" pitchFamily="34" charset="0"/>
              </a:rPr>
              <a:t>AI Strategic Growth Offering</a:t>
            </a:r>
            <a:endParaRPr kumimoji="0" sz="2000" b="0" i="0" u="none" strike="noStrike" kern="1200" cap="none" spc="0" normalizeH="0" baseline="0" noProof="0" dirty="0">
              <a:ln>
                <a:noFill/>
              </a:ln>
              <a:solidFill>
                <a:prstClr val="black"/>
              </a:solidFill>
              <a:effectLst/>
              <a:uLnTx/>
              <a:uFillTx/>
              <a:latin typeface="OpenSans-Light"/>
              <a:ea typeface="+mn-ea"/>
              <a:cs typeface="Calibri Light" panose="020F0302020204030204" pitchFamily="34" charset="0"/>
            </a:endParaRPr>
          </a:p>
        </p:txBody>
      </p:sp>
      <p:grpSp>
        <p:nvGrpSpPr>
          <p:cNvPr id="4" name="object 4"/>
          <p:cNvGrpSpPr/>
          <p:nvPr/>
        </p:nvGrpSpPr>
        <p:grpSpPr>
          <a:xfrm>
            <a:off x="381003" y="379783"/>
            <a:ext cx="1650470" cy="308504"/>
            <a:chOff x="457203" y="455739"/>
            <a:chExt cx="1980564" cy="370205"/>
          </a:xfrm>
        </p:grpSpPr>
        <p:pic>
          <p:nvPicPr>
            <p:cNvPr id="5" name="object 5"/>
            <p:cNvPicPr/>
            <p:nvPr/>
          </p:nvPicPr>
          <p:blipFill>
            <a:blip r:embed="rId3" cstate="print"/>
            <a:stretch>
              <a:fillRect/>
            </a:stretch>
          </p:blipFill>
          <p:spPr>
            <a:xfrm>
              <a:off x="2332205" y="720971"/>
              <a:ext cx="104940" cy="104927"/>
            </a:xfrm>
            <a:prstGeom prst="rect">
              <a:avLst/>
            </a:prstGeom>
          </p:spPr>
        </p:pic>
        <p:sp>
          <p:nvSpPr>
            <p:cNvPr id="6" name="object 6"/>
            <p:cNvSpPr/>
            <p:nvPr/>
          </p:nvSpPr>
          <p:spPr>
            <a:xfrm>
              <a:off x="457200" y="455739"/>
              <a:ext cx="1852930" cy="369570"/>
            </a:xfrm>
            <a:custGeom>
              <a:avLst/>
              <a:gdLst/>
              <a:ahLst/>
              <a:cxnLst/>
              <a:rect l="l" t="t" r="r" b="b"/>
              <a:pathLst>
                <a:path w="1852930" h="369569">
                  <a:moveTo>
                    <a:pt x="300786" y="175272"/>
                  </a:moveTo>
                  <a:lnTo>
                    <a:pt x="297878" y="135547"/>
                  </a:lnTo>
                  <a:lnTo>
                    <a:pt x="289179" y="100799"/>
                  </a:lnTo>
                  <a:lnTo>
                    <a:pt x="279387" y="80695"/>
                  </a:lnTo>
                  <a:lnTo>
                    <a:pt x="274675" y="71018"/>
                  </a:lnTo>
                  <a:lnTo>
                    <a:pt x="254381" y="46202"/>
                  </a:lnTo>
                  <a:lnTo>
                    <a:pt x="228739" y="26657"/>
                  </a:lnTo>
                  <a:lnTo>
                    <a:pt x="201409" y="14160"/>
                  </a:lnTo>
                  <a:lnTo>
                    <a:pt x="201409" y="178727"/>
                  </a:lnTo>
                  <a:lnTo>
                    <a:pt x="200139" y="203695"/>
                  </a:lnTo>
                  <a:lnTo>
                    <a:pt x="189953" y="243344"/>
                  </a:lnTo>
                  <a:lnTo>
                    <a:pt x="154876" y="277482"/>
                  </a:lnTo>
                  <a:lnTo>
                    <a:pt x="117055" y="283959"/>
                  </a:lnTo>
                  <a:lnTo>
                    <a:pt x="95732" y="283959"/>
                  </a:lnTo>
                  <a:lnTo>
                    <a:pt x="95732" y="80695"/>
                  </a:lnTo>
                  <a:lnTo>
                    <a:pt x="123596" y="80695"/>
                  </a:lnTo>
                  <a:lnTo>
                    <a:pt x="171259" y="94234"/>
                  </a:lnTo>
                  <a:lnTo>
                    <a:pt x="196596" y="135305"/>
                  </a:lnTo>
                  <a:lnTo>
                    <a:pt x="201409" y="178727"/>
                  </a:lnTo>
                  <a:lnTo>
                    <a:pt x="201409" y="14160"/>
                  </a:lnTo>
                  <a:lnTo>
                    <a:pt x="198234" y="12700"/>
                  </a:lnTo>
                  <a:lnTo>
                    <a:pt x="162864" y="4318"/>
                  </a:lnTo>
                  <a:lnTo>
                    <a:pt x="122631" y="1524"/>
                  </a:lnTo>
                  <a:lnTo>
                    <a:pt x="0" y="1524"/>
                  </a:lnTo>
                  <a:lnTo>
                    <a:pt x="0" y="364388"/>
                  </a:lnTo>
                  <a:lnTo>
                    <a:pt x="114642" y="364388"/>
                  </a:lnTo>
                  <a:lnTo>
                    <a:pt x="156400" y="361315"/>
                  </a:lnTo>
                  <a:lnTo>
                    <a:pt x="225044" y="336740"/>
                  </a:lnTo>
                  <a:lnTo>
                    <a:pt x="273304" y="288048"/>
                  </a:lnTo>
                  <a:lnTo>
                    <a:pt x="297726" y="218071"/>
                  </a:lnTo>
                  <a:lnTo>
                    <a:pt x="300786" y="175272"/>
                  </a:lnTo>
                  <a:close/>
                </a:path>
                <a:path w="1852930" h="369569">
                  <a:moveTo>
                    <a:pt x="583018" y="212699"/>
                  </a:moveTo>
                  <a:lnTo>
                    <a:pt x="581787" y="195491"/>
                  </a:lnTo>
                  <a:lnTo>
                    <a:pt x="580986" y="184467"/>
                  </a:lnTo>
                  <a:lnTo>
                    <a:pt x="574890" y="159740"/>
                  </a:lnTo>
                  <a:lnTo>
                    <a:pt x="571411" y="152488"/>
                  </a:lnTo>
                  <a:lnTo>
                    <a:pt x="564718" y="138531"/>
                  </a:lnTo>
                  <a:lnTo>
                    <a:pt x="550481" y="120840"/>
                  </a:lnTo>
                  <a:lnTo>
                    <a:pt x="532523" y="106895"/>
                  </a:lnTo>
                  <a:lnTo>
                    <a:pt x="511149" y="96926"/>
                  </a:lnTo>
                  <a:lnTo>
                    <a:pt x="500202" y="94284"/>
                  </a:lnTo>
                  <a:lnTo>
                    <a:pt x="500202" y="195491"/>
                  </a:lnTo>
                  <a:lnTo>
                    <a:pt x="421830" y="195491"/>
                  </a:lnTo>
                  <a:lnTo>
                    <a:pt x="440296" y="158330"/>
                  </a:lnTo>
                  <a:lnTo>
                    <a:pt x="461492" y="152488"/>
                  </a:lnTo>
                  <a:lnTo>
                    <a:pt x="469798" y="153225"/>
                  </a:lnTo>
                  <a:lnTo>
                    <a:pt x="499364" y="186194"/>
                  </a:lnTo>
                  <a:lnTo>
                    <a:pt x="500202" y="195491"/>
                  </a:lnTo>
                  <a:lnTo>
                    <a:pt x="500202" y="94284"/>
                  </a:lnTo>
                  <a:lnTo>
                    <a:pt x="486384" y="90944"/>
                  </a:lnTo>
                  <a:lnTo>
                    <a:pt x="458216" y="88950"/>
                  </a:lnTo>
                  <a:lnTo>
                    <a:pt x="428650" y="91236"/>
                  </a:lnTo>
                  <a:lnTo>
                    <a:pt x="380377" y="109575"/>
                  </a:lnTo>
                  <a:lnTo>
                    <a:pt x="346849" y="145935"/>
                  </a:lnTo>
                  <a:lnTo>
                    <a:pt x="329933" y="198551"/>
                  </a:lnTo>
                  <a:lnTo>
                    <a:pt x="327812" y="230847"/>
                  </a:lnTo>
                  <a:lnTo>
                    <a:pt x="330098" y="262140"/>
                  </a:lnTo>
                  <a:lnTo>
                    <a:pt x="348361" y="313321"/>
                  </a:lnTo>
                  <a:lnTo>
                    <a:pt x="384441" y="348932"/>
                  </a:lnTo>
                  <a:lnTo>
                    <a:pt x="435698" y="366903"/>
                  </a:lnTo>
                  <a:lnTo>
                    <a:pt x="466864" y="369150"/>
                  </a:lnTo>
                  <a:lnTo>
                    <a:pt x="482168" y="368884"/>
                  </a:lnTo>
                  <a:lnTo>
                    <a:pt x="521436" y="364845"/>
                  </a:lnTo>
                  <a:lnTo>
                    <a:pt x="565505" y="349453"/>
                  </a:lnTo>
                  <a:lnTo>
                    <a:pt x="554774" y="302755"/>
                  </a:lnTo>
                  <a:lnTo>
                    <a:pt x="551484" y="288467"/>
                  </a:lnTo>
                  <a:lnTo>
                    <a:pt x="543826" y="291452"/>
                  </a:lnTo>
                  <a:lnTo>
                    <a:pt x="536359" y="294055"/>
                  </a:lnTo>
                  <a:lnTo>
                    <a:pt x="489597" y="302463"/>
                  </a:lnTo>
                  <a:lnTo>
                    <a:pt x="477824" y="302755"/>
                  </a:lnTo>
                  <a:lnTo>
                    <a:pt x="465340" y="301955"/>
                  </a:lnTo>
                  <a:lnTo>
                    <a:pt x="429437" y="282790"/>
                  </a:lnTo>
                  <a:lnTo>
                    <a:pt x="419963" y="254241"/>
                  </a:lnTo>
                  <a:lnTo>
                    <a:pt x="583018" y="254241"/>
                  </a:lnTo>
                  <a:lnTo>
                    <a:pt x="583018" y="212699"/>
                  </a:lnTo>
                  <a:close/>
                </a:path>
                <a:path w="1852930" h="369569">
                  <a:moveTo>
                    <a:pt x="709510" y="0"/>
                  </a:moveTo>
                  <a:lnTo>
                    <a:pt x="618299" y="0"/>
                  </a:lnTo>
                  <a:lnTo>
                    <a:pt x="618299" y="364375"/>
                  </a:lnTo>
                  <a:lnTo>
                    <a:pt x="709510" y="364375"/>
                  </a:lnTo>
                  <a:lnTo>
                    <a:pt x="709510" y="0"/>
                  </a:lnTo>
                  <a:close/>
                </a:path>
                <a:path w="1852930" h="369569">
                  <a:moveTo>
                    <a:pt x="1008849" y="228460"/>
                  </a:moveTo>
                  <a:lnTo>
                    <a:pt x="1007833" y="207987"/>
                  </a:lnTo>
                  <a:lnTo>
                    <a:pt x="1004798" y="188823"/>
                  </a:lnTo>
                  <a:lnTo>
                    <a:pt x="999731" y="171005"/>
                  </a:lnTo>
                  <a:lnTo>
                    <a:pt x="994333" y="158457"/>
                  </a:lnTo>
                  <a:lnTo>
                    <a:pt x="992644" y="154520"/>
                  </a:lnTo>
                  <a:lnTo>
                    <a:pt x="960653" y="115303"/>
                  </a:lnTo>
                  <a:lnTo>
                    <a:pt x="916012" y="93687"/>
                  </a:lnTo>
                  <a:lnTo>
                    <a:pt x="916012" y="228460"/>
                  </a:lnTo>
                  <a:lnTo>
                    <a:pt x="915466" y="244856"/>
                  </a:lnTo>
                  <a:lnTo>
                    <a:pt x="902119" y="289598"/>
                  </a:lnTo>
                  <a:lnTo>
                    <a:pt x="877290" y="299872"/>
                  </a:lnTo>
                  <a:lnTo>
                    <a:pt x="867333" y="298729"/>
                  </a:lnTo>
                  <a:lnTo>
                    <a:pt x="839914" y="259156"/>
                  </a:lnTo>
                  <a:lnTo>
                    <a:pt x="837641" y="228460"/>
                  </a:lnTo>
                  <a:lnTo>
                    <a:pt x="838212" y="212102"/>
                  </a:lnTo>
                  <a:lnTo>
                    <a:pt x="852030" y="168351"/>
                  </a:lnTo>
                  <a:lnTo>
                    <a:pt x="876820" y="158457"/>
                  </a:lnTo>
                  <a:lnTo>
                    <a:pt x="886764" y="159562"/>
                  </a:lnTo>
                  <a:lnTo>
                    <a:pt x="913803" y="198056"/>
                  </a:lnTo>
                  <a:lnTo>
                    <a:pt x="916012" y="228460"/>
                  </a:lnTo>
                  <a:lnTo>
                    <a:pt x="916012" y="93687"/>
                  </a:lnTo>
                  <a:lnTo>
                    <a:pt x="914438" y="93179"/>
                  </a:lnTo>
                  <a:lnTo>
                    <a:pt x="896670" y="90004"/>
                  </a:lnTo>
                  <a:lnTo>
                    <a:pt x="877773" y="88938"/>
                  </a:lnTo>
                  <a:lnTo>
                    <a:pt x="848029" y="91236"/>
                  </a:lnTo>
                  <a:lnTo>
                    <a:pt x="799096" y="109562"/>
                  </a:lnTo>
                  <a:lnTo>
                    <a:pt x="764628" y="145783"/>
                  </a:lnTo>
                  <a:lnTo>
                    <a:pt x="747191" y="197218"/>
                  </a:lnTo>
                  <a:lnTo>
                    <a:pt x="745020" y="228460"/>
                  </a:lnTo>
                  <a:lnTo>
                    <a:pt x="747242" y="259181"/>
                  </a:lnTo>
                  <a:lnTo>
                    <a:pt x="765035" y="310502"/>
                  </a:lnTo>
                  <a:lnTo>
                    <a:pt x="799922" y="347789"/>
                  </a:lnTo>
                  <a:lnTo>
                    <a:pt x="847801" y="366776"/>
                  </a:lnTo>
                  <a:lnTo>
                    <a:pt x="876363" y="369150"/>
                  </a:lnTo>
                  <a:lnTo>
                    <a:pt x="905992" y="366839"/>
                  </a:lnTo>
                  <a:lnTo>
                    <a:pt x="954798" y="348259"/>
                  </a:lnTo>
                  <a:lnTo>
                    <a:pt x="989253" y="311607"/>
                  </a:lnTo>
                  <a:lnTo>
                    <a:pt x="994562" y="299872"/>
                  </a:lnTo>
                  <a:lnTo>
                    <a:pt x="1000137" y="287553"/>
                  </a:lnTo>
                  <a:lnTo>
                    <a:pt x="1006678" y="259829"/>
                  </a:lnTo>
                  <a:lnTo>
                    <a:pt x="1008849" y="228460"/>
                  </a:lnTo>
                  <a:close/>
                </a:path>
                <a:path w="1852930" h="369569">
                  <a:moveTo>
                    <a:pt x="1136294" y="93713"/>
                  </a:moveTo>
                  <a:lnTo>
                    <a:pt x="1045070" y="93713"/>
                  </a:lnTo>
                  <a:lnTo>
                    <a:pt x="1045070" y="364375"/>
                  </a:lnTo>
                  <a:lnTo>
                    <a:pt x="1136294" y="364375"/>
                  </a:lnTo>
                  <a:lnTo>
                    <a:pt x="1136294" y="93713"/>
                  </a:lnTo>
                  <a:close/>
                </a:path>
                <a:path w="1852930" h="369569">
                  <a:moveTo>
                    <a:pt x="1136294" y="0"/>
                  </a:moveTo>
                  <a:lnTo>
                    <a:pt x="1045070" y="0"/>
                  </a:lnTo>
                  <a:lnTo>
                    <a:pt x="1045070" y="60985"/>
                  </a:lnTo>
                  <a:lnTo>
                    <a:pt x="1136294" y="60985"/>
                  </a:lnTo>
                  <a:lnTo>
                    <a:pt x="1136294" y="0"/>
                  </a:lnTo>
                  <a:close/>
                </a:path>
                <a:path w="1852930" h="369569">
                  <a:moveTo>
                    <a:pt x="1365224" y="286016"/>
                  </a:moveTo>
                  <a:lnTo>
                    <a:pt x="1352842" y="290093"/>
                  </a:lnTo>
                  <a:lnTo>
                    <a:pt x="1341361" y="293001"/>
                  </a:lnTo>
                  <a:lnTo>
                    <a:pt x="1330794" y="294767"/>
                  </a:lnTo>
                  <a:lnTo>
                    <a:pt x="1321117" y="295351"/>
                  </a:lnTo>
                  <a:lnTo>
                    <a:pt x="1310309" y="293700"/>
                  </a:lnTo>
                  <a:lnTo>
                    <a:pt x="1302588" y="288772"/>
                  </a:lnTo>
                  <a:lnTo>
                    <a:pt x="1297952" y="280555"/>
                  </a:lnTo>
                  <a:lnTo>
                    <a:pt x="1296403" y="269062"/>
                  </a:lnTo>
                  <a:lnTo>
                    <a:pt x="1296403" y="163715"/>
                  </a:lnTo>
                  <a:lnTo>
                    <a:pt x="1354607" y="163715"/>
                  </a:lnTo>
                  <a:lnTo>
                    <a:pt x="1354607" y="93738"/>
                  </a:lnTo>
                  <a:lnTo>
                    <a:pt x="1296403" y="93738"/>
                  </a:lnTo>
                  <a:lnTo>
                    <a:pt x="1296403" y="8636"/>
                  </a:lnTo>
                  <a:lnTo>
                    <a:pt x="1204493" y="24638"/>
                  </a:lnTo>
                  <a:lnTo>
                    <a:pt x="1204493" y="93738"/>
                  </a:lnTo>
                  <a:lnTo>
                    <a:pt x="1172540" y="93738"/>
                  </a:lnTo>
                  <a:lnTo>
                    <a:pt x="1172540" y="163715"/>
                  </a:lnTo>
                  <a:lnTo>
                    <a:pt x="1204493" y="163715"/>
                  </a:lnTo>
                  <a:lnTo>
                    <a:pt x="1204493" y="275285"/>
                  </a:lnTo>
                  <a:lnTo>
                    <a:pt x="1205763" y="297624"/>
                  </a:lnTo>
                  <a:lnTo>
                    <a:pt x="1224762" y="346100"/>
                  </a:lnTo>
                  <a:lnTo>
                    <a:pt x="1269657" y="367715"/>
                  </a:lnTo>
                  <a:lnTo>
                    <a:pt x="1291018" y="369163"/>
                  </a:lnTo>
                  <a:lnTo>
                    <a:pt x="1301864" y="368947"/>
                  </a:lnTo>
                  <a:lnTo>
                    <a:pt x="1347216" y="361061"/>
                  </a:lnTo>
                  <a:lnTo>
                    <a:pt x="1365224" y="354126"/>
                  </a:lnTo>
                  <a:lnTo>
                    <a:pt x="1365224" y="286016"/>
                  </a:lnTo>
                  <a:close/>
                </a:path>
                <a:path w="1852930" h="369569">
                  <a:moveTo>
                    <a:pt x="1576349" y="286016"/>
                  </a:moveTo>
                  <a:lnTo>
                    <a:pt x="1563966" y="290093"/>
                  </a:lnTo>
                  <a:lnTo>
                    <a:pt x="1552486" y="293001"/>
                  </a:lnTo>
                  <a:lnTo>
                    <a:pt x="1541919" y="294767"/>
                  </a:lnTo>
                  <a:lnTo>
                    <a:pt x="1532255" y="295351"/>
                  </a:lnTo>
                  <a:lnTo>
                    <a:pt x="1521434" y="293700"/>
                  </a:lnTo>
                  <a:lnTo>
                    <a:pt x="1513713" y="288772"/>
                  </a:lnTo>
                  <a:lnTo>
                    <a:pt x="1509077" y="280555"/>
                  </a:lnTo>
                  <a:lnTo>
                    <a:pt x="1507540" y="269062"/>
                  </a:lnTo>
                  <a:lnTo>
                    <a:pt x="1507540" y="163715"/>
                  </a:lnTo>
                  <a:lnTo>
                    <a:pt x="1565770" y="163715"/>
                  </a:lnTo>
                  <a:lnTo>
                    <a:pt x="1565770" y="93738"/>
                  </a:lnTo>
                  <a:lnTo>
                    <a:pt x="1507540" y="93738"/>
                  </a:lnTo>
                  <a:lnTo>
                    <a:pt x="1507540" y="8636"/>
                  </a:lnTo>
                  <a:lnTo>
                    <a:pt x="1415630" y="23583"/>
                  </a:lnTo>
                  <a:lnTo>
                    <a:pt x="1415630" y="93738"/>
                  </a:lnTo>
                  <a:lnTo>
                    <a:pt x="1383652" y="93738"/>
                  </a:lnTo>
                  <a:lnTo>
                    <a:pt x="1383652" y="163715"/>
                  </a:lnTo>
                  <a:lnTo>
                    <a:pt x="1415630" y="163715"/>
                  </a:lnTo>
                  <a:lnTo>
                    <a:pt x="1415630" y="275285"/>
                  </a:lnTo>
                  <a:lnTo>
                    <a:pt x="1416888" y="297624"/>
                  </a:lnTo>
                  <a:lnTo>
                    <a:pt x="1435925" y="346100"/>
                  </a:lnTo>
                  <a:lnTo>
                    <a:pt x="1480781" y="367715"/>
                  </a:lnTo>
                  <a:lnTo>
                    <a:pt x="1502156" y="369163"/>
                  </a:lnTo>
                  <a:lnTo>
                    <a:pt x="1513001" y="368947"/>
                  </a:lnTo>
                  <a:lnTo>
                    <a:pt x="1558353" y="361061"/>
                  </a:lnTo>
                  <a:lnTo>
                    <a:pt x="1576349" y="354126"/>
                  </a:lnTo>
                  <a:lnTo>
                    <a:pt x="1576349" y="286016"/>
                  </a:lnTo>
                  <a:close/>
                </a:path>
                <a:path w="1852930" h="369569">
                  <a:moveTo>
                    <a:pt x="1852637" y="212699"/>
                  </a:moveTo>
                  <a:lnTo>
                    <a:pt x="1851406" y="195491"/>
                  </a:lnTo>
                  <a:lnTo>
                    <a:pt x="1850605" y="184467"/>
                  </a:lnTo>
                  <a:lnTo>
                    <a:pt x="1844497" y="159740"/>
                  </a:lnTo>
                  <a:lnTo>
                    <a:pt x="1841017" y="152488"/>
                  </a:lnTo>
                  <a:lnTo>
                    <a:pt x="1834324" y="138531"/>
                  </a:lnTo>
                  <a:lnTo>
                    <a:pt x="1820087" y="120840"/>
                  </a:lnTo>
                  <a:lnTo>
                    <a:pt x="1802130" y="106895"/>
                  </a:lnTo>
                  <a:lnTo>
                    <a:pt x="1780768" y="96926"/>
                  </a:lnTo>
                  <a:lnTo>
                    <a:pt x="1769808" y="94284"/>
                  </a:lnTo>
                  <a:lnTo>
                    <a:pt x="1769808" y="195491"/>
                  </a:lnTo>
                  <a:lnTo>
                    <a:pt x="1691449" y="195491"/>
                  </a:lnTo>
                  <a:lnTo>
                    <a:pt x="1709915" y="158330"/>
                  </a:lnTo>
                  <a:lnTo>
                    <a:pt x="1731098" y="152488"/>
                  </a:lnTo>
                  <a:lnTo>
                    <a:pt x="1739417" y="153225"/>
                  </a:lnTo>
                  <a:lnTo>
                    <a:pt x="1768970" y="186194"/>
                  </a:lnTo>
                  <a:lnTo>
                    <a:pt x="1769808" y="195491"/>
                  </a:lnTo>
                  <a:lnTo>
                    <a:pt x="1769808" y="94284"/>
                  </a:lnTo>
                  <a:lnTo>
                    <a:pt x="1756003" y="90944"/>
                  </a:lnTo>
                  <a:lnTo>
                    <a:pt x="1727847" y="88950"/>
                  </a:lnTo>
                  <a:lnTo>
                    <a:pt x="1698282" y="91236"/>
                  </a:lnTo>
                  <a:lnTo>
                    <a:pt x="1649984" y="109575"/>
                  </a:lnTo>
                  <a:lnTo>
                    <a:pt x="1616456" y="145935"/>
                  </a:lnTo>
                  <a:lnTo>
                    <a:pt x="1599552" y="198551"/>
                  </a:lnTo>
                  <a:lnTo>
                    <a:pt x="1597431" y="230847"/>
                  </a:lnTo>
                  <a:lnTo>
                    <a:pt x="1599717" y="262140"/>
                  </a:lnTo>
                  <a:lnTo>
                    <a:pt x="1617980" y="313321"/>
                  </a:lnTo>
                  <a:lnTo>
                    <a:pt x="1654048" y="348932"/>
                  </a:lnTo>
                  <a:lnTo>
                    <a:pt x="1705317" y="366903"/>
                  </a:lnTo>
                  <a:lnTo>
                    <a:pt x="1736483" y="369150"/>
                  </a:lnTo>
                  <a:lnTo>
                    <a:pt x="1751787" y="368884"/>
                  </a:lnTo>
                  <a:lnTo>
                    <a:pt x="1791055" y="364845"/>
                  </a:lnTo>
                  <a:lnTo>
                    <a:pt x="1835111" y="349453"/>
                  </a:lnTo>
                  <a:lnTo>
                    <a:pt x="1824393" y="302755"/>
                  </a:lnTo>
                  <a:lnTo>
                    <a:pt x="1821103" y="288467"/>
                  </a:lnTo>
                  <a:lnTo>
                    <a:pt x="1813445" y="291452"/>
                  </a:lnTo>
                  <a:lnTo>
                    <a:pt x="1805965" y="294055"/>
                  </a:lnTo>
                  <a:lnTo>
                    <a:pt x="1759216" y="302463"/>
                  </a:lnTo>
                  <a:lnTo>
                    <a:pt x="1747443" y="302755"/>
                  </a:lnTo>
                  <a:lnTo>
                    <a:pt x="1734947" y="301955"/>
                  </a:lnTo>
                  <a:lnTo>
                    <a:pt x="1699069" y="282790"/>
                  </a:lnTo>
                  <a:lnTo>
                    <a:pt x="1689582" y="254241"/>
                  </a:lnTo>
                  <a:lnTo>
                    <a:pt x="1852637" y="254241"/>
                  </a:lnTo>
                  <a:lnTo>
                    <a:pt x="1852637" y="212699"/>
                  </a:lnTo>
                  <a:close/>
                </a:path>
              </a:pathLst>
            </a:custGeom>
            <a:solidFill>
              <a:srgbClr val="FFFFFF"/>
            </a:solidFill>
          </p:spPr>
          <p:txBody>
            <a:bodyPr wrap="square" lIns="0" tIns="0" rIns="0" bIns="0" rtlCol="0"/>
            <a:lstStyle/>
            <a:p>
              <a:pPr marL="0" marR="0" lvl="0" indent="0" algn="l" defTabSz="76197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prstClr val="black"/>
                </a:solidFill>
                <a:effectLst/>
                <a:uLnTx/>
                <a:uFillTx/>
                <a:latin typeface="Calibri"/>
                <a:ea typeface="+mn-ea"/>
                <a:cs typeface="+mn-cs"/>
              </a:endParaRPr>
            </a:p>
          </p:txBody>
        </p:sp>
      </p:grpSp>
      <p:sp>
        <p:nvSpPr>
          <p:cNvPr id="7" name="TextBox 6">
            <a:extLst>
              <a:ext uri="{FF2B5EF4-FFF2-40B4-BE49-F238E27FC236}">
                <a16:creationId xmlns:a16="http://schemas.microsoft.com/office/drawing/2014/main" id="{428ADA4F-237A-4E12-89AF-39DEBA8B5DA1}"/>
              </a:ext>
            </a:extLst>
          </p:cNvPr>
          <p:cNvSpPr txBox="1"/>
          <p:nvPr/>
        </p:nvSpPr>
        <p:spPr>
          <a:xfrm>
            <a:off x="9322138" y="122248"/>
            <a:ext cx="2735364"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0" normalizeH="0" baseline="0" noProof="0" dirty="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rPr>
              <a:t>For Internal Use Only</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14C1759-49F1-4642-A210-8F67F0C546B3}"/>
              </a:ext>
            </a:extLst>
          </p:cNvPr>
          <p:cNvSpPr/>
          <p:nvPr/>
        </p:nvSpPr>
        <p:spPr>
          <a:xfrm>
            <a:off x="2364935" y="654844"/>
            <a:ext cx="235390" cy="2405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a:extLst>
              <a:ext uri="{FF2B5EF4-FFF2-40B4-BE49-F238E27FC236}">
                <a16:creationId xmlns:a16="http://schemas.microsoft.com/office/drawing/2014/main" id="{FE16DA87-536A-4D88-B663-84D5F4EFC897}"/>
              </a:ext>
            </a:extLst>
          </p:cNvPr>
          <p:cNvSpPr/>
          <p:nvPr/>
        </p:nvSpPr>
        <p:spPr>
          <a:xfrm>
            <a:off x="2364935" y="720953"/>
            <a:ext cx="109728" cy="109728"/>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111017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2000" b="-12000"/>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solidFill>
                  <a:schemeClr val="bg1"/>
                </a:solidFill>
              </a:rPr>
              <a:t>Table of Contents</a:t>
            </a:r>
          </a:p>
        </p:txBody>
      </p:sp>
      <p:sp>
        <p:nvSpPr>
          <p:cNvPr id="58" name="TextBox 57">
            <a:extLst>
              <a:ext uri="{FF2B5EF4-FFF2-40B4-BE49-F238E27FC236}">
                <a16:creationId xmlns:a16="http://schemas.microsoft.com/office/drawing/2014/main" id="{3A8AAA06-AF4A-4B69-BFB7-611B2314759E}"/>
              </a:ext>
            </a:extLst>
          </p:cNvPr>
          <p:cNvSpPr txBox="1"/>
          <p:nvPr/>
        </p:nvSpPr>
        <p:spPr>
          <a:xfrm>
            <a:off x="615694" y="1767005"/>
            <a:ext cx="4707363" cy="3877985"/>
          </a:xfrm>
          <a:prstGeom prst="rect">
            <a:avLst/>
          </a:prstGeom>
          <a:noFill/>
        </p:spPr>
        <p:txBody>
          <a:bodyPr wrap="square" lIns="0" tIns="0" rIns="0" bIns="0" rtlCol="0">
            <a:spAutoFit/>
          </a:bodyPr>
          <a:lstStyle/>
          <a:p>
            <a:pPr fontAlgn="ctr">
              <a:lnSpc>
                <a:spcPct val="200000"/>
              </a:lnSpc>
            </a:pPr>
            <a:r>
              <a:rPr lang="en-US" dirty="0">
                <a:solidFill>
                  <a:schemeClr val="bg1"/>
                </a:solidFill>
                <a:ea typeface="Open Sans" panose="020B0606030504020204" pitchFamily="34" charset="0"/>
                <a:cs typeface="Open Sans" panose="020B0606030504020204" pitchFamily="34" charset="0"/>
              </a:rPr>
              <a:t>AI Academy Overview		3</a:t>
            </a:r>
          </a:p>
          <a:p>
            <a:pPr fontAlgn="ctr">
              <a:lnSpc>
                <a:spcPct val="200000"/>
              </a:lnSpc>
            </a:pPr>
            <a:r>
              <a:rPr lang="en-US" dirty="0">
                <a:solidFill>
                  <a:schemeClr val="bg1"/>
                </a:solidFill>
                <a:ea typeface="Open Sans" panose="020B0606030504020204" pitchFamily="34" charset="0"/>
                <a:cs typeface="Open Sans" panose="020B0606030504020204" pitchFamily="34" charset="0"/>
              </a:rPr>
              <a:t>Graduate Profile			4</a:t>
            </a:r>
          </a:p>
          <a:p>
            <a:pPr fontAlgn="ctr">
              <a:lnSpc>
                <a:spcPct val="200000"/>
              </a:lnSpc>
            </a:pPr>
            <a:r>
              <a:rPr lang="en-US" dirty="0">
                <a:solidFill>
                  <a:schemeClr val="bg1"/>
                </a:solidFill>
                <a:ea typeface="Open Sans" panose="020B0606030504020204" pitchFamily="34" charset="0"/>
                <a:cs typeface="Open Sans" panose="020B0606030504020204" pitchFamily="34" charset="0"/>
              </a:rPr>
              <a:t>Curriculum			5</a:t>
            </a:r>
          </a:p>
          <a:p>
            <a:pPr fontAlgn="ctr">
              <a:lnSpc>
                <a:spcPct val="200000"/>
              </a:lnSpc>
            </a:pPr>
            <a:r>
              <a:rPr lang="en-US" dirty="0">
                <a:solidFill>
                  <a:schemeClr val="bg1"/>
                </a:solidFill>
                <a:ea typeface="Open Sans" panose="020B0606030504020204" pitchFamily="34" charset="0"/>
                <a:cs typeface="Open Sans" panose="020B0606030504020204" pitchFamily="34" charset="0"/>
              </a:rPr>
              <a:t>Role Archetypes			6</a:t>
            </a:r>
          </a:p>
          <a:p>
            <a:pPr fontAlgn="ctr">
              <a:lnSpc>
                <a:spcPct val="200000"/>
              </a:lnSpc>
            </a:pPr>
            <a:r>
              <a:rPr lang="en-US" dirty="0">
                <a:solidFill>
                  <a:schemeClr val="bg1"/>
                </a:solidFill>
                <a:ea typeface="Open Sans" panose="020B0606030504020204" pitchFamily="34" charset="0"/>
                <a:cs typeface="Open Sans" panose="020B0606030504020204" pitchFamily="34" charset="0"/>
              </a:rPr>
              <a:t>Staffing Graduates		7</a:t>
            </a:r>
          </a:p>
          <a:p>
            <a:pPr fontAlgn="ctr">
              <a:lnSpc>
                <a:spcPct val="200000"/>
              </a:lnSpc>
            </a:pPr>
            <a:r>
              <a:rPr lang="en-US" dirty="0">
                <a:solidFill>
                  <a:schemeClr val="bg1"/>
                </a:solidFill>
                <a:ea typeface="Open Sans" panose="020B0606030504020204" pitchFamily="34" charset="0"/>
                <a:cs typeface="Open Sans" panose="020B0606030504020204" pitchFamily="34" charset="0"/>
              </a:rPr>
              <a:t>Contact Us			8</a:t>
            </a:r>
          </a:p>
          <a:p>
            <a:pPr fontAlgn="ctr">
              <a:lnSpc>
                <a:spcPct val="200000"/>
              </a:lnSpc>
            </a:pPr>
            <a:endParaRPr lang="en-US" dirty="0">
              <a:solidFill>
                <a:schemeClr val="bg1"/>
              </a:solidFill>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037462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543949B-4804-4963-A641-040FEC1A2496}"/>
              </a:ext>
            </a:extLst>
          </p:cNvPr>
          <p:cNvSpPr>
            <a:spLocks noGrp="1"/>
          </p:cNvSpPr>
          <p:nvPr>
            <p:ph type="body" sz="quarter" idx="22"/>
          </p:nvPr>
        </p:nvSpPr>
        <p:spPr>
          <a:xfrm>
            <a:off x="463295" y="682940"/>
            <a:ext cx="11378638" cy="529833"/>
          </a:xfrm>
        </p:spPr>
        <p:txBody>
          <a:bodyPr/>
          <a:lstStyle/>
          <a:p>
            <a:r>
              <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The Deloitte AI Academy will revolutionize Deloitte to be a powerhouse in AI Talent development at scale</a:t>
            </a:r>
          </a:p>
        </p:txBody>
      </p:sp>
      <p:sp>
        <p:nvSpPr>
          <p:cNvPr id="4" name="Title 3">
            <a:extLst>
              <a:ext uri="{FF2B5EF4-FFF2-40B4-BE49-F238E27FC236}">
                <a16:creationId xmlns:a16="http://schemas.microsoft.com/office/drawing/2014/main" id="{DAEE1803-6C46-402C-AB88-B2E0DEFA8E5C}"/>
              </a:ext>
            </a:extLst>
          </p:cNvPr>
          <p:cNvSpPr>
            <a:spLocks noGrp="1"/>
          </p:cNvSpPr>
          <p:nvPr>
            <p:ph type="title"/>
          </p:nvPr>
        </p:nvSpPr>
        <p:spPr/>
        <p:txBody>
          <a:bodyPr/>
          <a:lstStyle/>
          <a:p>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Deloitte AI </a:t>
            </a:r>
            <a:r>
              <a:rPr lang="en-US" b="1" dirty="0" err="1">
                <a:solidFill>
                  <a:schemeClr val="tx1"/>
                </a:solidFill>
                <a:latin typeface="Open Sans" panose="020B0606030504020204" pitchFamily="34" charset="0"/>
                <a:ea typeface="Open Sans" panose="020B0606030504020204" pitchFamily="34" charset="0"/>
                <a:cs typeface="Open Sans" panose="020B0606030504020204" pitchFamily="34" charset="0"/>
              </a:rPr>
              <a:t>Academy</a:t>
            </a:r>
            <a:r>
              <a:rPr lang="en-US" b="1" baseline="30000" dirty="0" err="1">
                <a:solidFill>
                  <a:schemeClr val="tx1"/>
                </a:solidFill>
                <a:latin typeface="Open Sans" panose="020B0606030504020204" pitchFamily="34" charset="0"/>
                <a:ea typeface="Open Sans" panose="020B0606030504020204" pitchFamily="34" charset="0"/>
                <a:cs typeface="Open Sans" panose="020B0606030504020204" pitchFamily="34" charset="0"/>
              </a:rPr>
              <a:t>TM</a:t>
            </a:r>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 Overview</a:t>
            </a:r>
          </a:p>
        </p:txBody>
      </p:sp>
      <p:sp>
        <p:nvSpPr>
          <p:cNvPr id="125" name="Rectangle 124">
            <a:extLst>
              <a:ext uri="{FF2B5EF4-FFF2-40B4-BE49-F238E27FC236}">
                <a16:creationId xmlns:a16="http://schemas.microsoft.com/office/drawing/2014/main" id="{863DD67F-E903-400C-824D-3534162C2253}"/>
              </a:ext>
            </a:extLst>
          </p:cNvPr>
          <p:cNvSpPr/>
          <p:nvPr/>
        </p:nvSpPr>
        <p:spPr>
          <a:xfrm>
            <a:off x="8058387" y="1949892"/>
            <a:ext cx="3571180" cy="2159422"/>
          </a:xfrm>
          <a:prstGeom prst="rect">
            <a:avLst/>
          </a:prstGeom>
          <a:solidFill>
            <a:srgbClr val="F8F8F8"/>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bIns="182880" rtlCol="0" anchor="b"/>
          <a:lstStyle/>
          <a:p>
            <a:pPr marL="0" marR="0" lvl="0" indent="0" algn="ctr" defTabSz="685800" rtl="0" eaLnBrk="1" fontAlgn="auto" latinLnBrk="0" hangingPunct="1">
              <a:lnSpc>
                <a:spcPct val="100000"/>
              </a:lnSpc>
              <a:spcBef>
                <a:spcPts val="0"/>
              </a:spcBef>
              <a:spcAft>
                <a:spcPts val="300"/>
              </a:spcAft>
              <a:buClrTx/>
              <a:buSzPct val="100000"/>
              <a:buFontTx/>
              <a:buNone/>
              <a:tabLst/>
              <a:defRPr/>
            </a:pPr>
            <a:r>
              <a:rPr kumimoji="0" lang="en-US" sz="1600" b="1" i="0" u="none" strike="noStrike" kern="1200" cap="all" spc="0" normalizeH="0" baseline="0" noProof="0" dirty="0">
                <a:ln>
                  <a:noFill/>
                </a:ln>
                <a:solidFill>
                  <a:prstClr val="black"/>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world-class Partnerships</a:t>
            </a:r>
          </a:p>
          <a:p>
            <a:pPr marL="0" marR="0" lvl="0" indent="0" algn="ctr" defTabSz="685800" rtl="0" eaLnBrk="1" fontAlgn="auto" latinLnBrk="0" hangingPunct="1">
              <a:lnSpc>
                <a:spcPct val="100000"/>
              </a:lnSpc>
              <a:spcBef>
                <a:spcPts val="0"/>
              </a:spcBef>
              <a:spcAft>
                <a:spcPts val="300"/>
              </a:spcAft>
              <a:buClrTx/>
              <a:buSzPct val="100000"/>
              <a:buFontTx/>
              <a:buNone/>
              <a:tabLst/>
              <a:defRPr/>
            </a:pPr>
            <a:r>
              <a:rPr kumimoji="0" lang="en-US" sz="1600" b="0" i="0" u="none" strike="noStrike" kern="0" cap="none" spc="0" normalizeH="0" baseline="0" noProof="0" dirty="0">
                <a:ln>
                  <a:noFill/>
                </a:ln>
                <a:solidFill>
                  <a:prstClr val="black"/>
                </a:solidFill>
                <a:effectLst/>
                <a:uLnTx/>
                <a:uFillTx/>
                <a:latin typeface="Calibri"/>
                <a:ea typeface="Open Sans" panose="020B0606030504020204" pitchFamily="34" charset="0"/>
                <a:cs typeface="Open Sans" panose="020B0606030504020204" pitchFamily="34" charset="0"/>
              </a:rPr>
              <a:t>Delivery through world-class corporate learning providers, renowned universities, and technology companies</a:t>
            </a:r>
            <a:endParaRPr kumimoji="0" lang="en-US" sz="1600" b="1" i="0" u="none" strike="noStrike" kern="1200" cap="all" spc="0" normalizeH="0" baseline="0" noProof="0" dirty="0">
              <a:ln>
                <a:noFill/>
              </a:ln>
              <a:solidFill>
                <a:prstClr val="black"/>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126" name="Rectangle 125">
            <a:extLst>
              <a:ext uri="{FF2B5EF4-FFF2-40B4-BE49-F238E27FC236}">
                <a16:creationId xmlns:a16="http://schemas.microsoft.com/office/drawing/2014/main" id="{DAC76F7F-1704-4EDF-8CAF-B42D7DF5D403}"/>
              </a:ext>
            </a:extLst>
          </p:cNvPr>
          <p:cNvSpPr/>
          <p:nvPr/>
        </p:nvSpPr>
        <p:spPr>
          <a:xfrm>
            <a:off x="513572" y="1949892"/>
            <a:ext cx="3568279" cy="2159825"/>
          </a:xfrm>
          <a:prstGeom prst="rect">
            <a:avLst/>
          </a:prstGeom>
          <a:solidFill>
            <a:srgbClr val="F8F8F8"/>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bIns="182880" rtlCol="0" anchor="b"/>
          <a:lstStyle/>
          <a:p>
            <a:pPr marL="0" marR="0" lvl="0" indent="0" algn="ctr" defTabSz="685800" rtl="0" eaLnBrk="1" fontAlgn="auto" latinLnBrk="0" hangingPunct="1">
              <a:lnSpc>
                <a:spcPct val="100000"/>
              </a:lnSpc>
              <a:spcBef>
                <a:spcPts val="0"/>
              </a:spcBef>
              <a:spcAft>
                <a:spcPts val="300"/>
              </a:spcAft>
              <a:buClrTx/>
              <a:buSzPct val="100000"/>
              <a:buFontTx/>
              <a:buNone/>
              <a:tabLst/>
              <a:defRPr/>
            </a:pPr>
            <a:r>
              <a:rPr kumimoji="0" lang="en-US" sz="1600" b="1" i="0" u="none" strike="noStrike" kern="1200" cap="all" spc="0" normalizeH="0" baseline="0" noProof="0" dirty="0">
                <a:ln>
                  <a:noFill/>
                </a:ln>
                <a:solidFill>
                  <a:prstClr val="black"/>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8-Week Rigorous EXPERIENCE</a:t>
            </a:r>
          </a:p>
          <a:p>
            <a:pPr marL="0" marR="0" lvl="0" indent="0" algn="ctr" defTabSz="685800" rtl="0" eaLnBrk="1" fontAlgn="auto" latinLnBrk="0" hangingPunct="1">
              <a:lnSpc>
                <a:spcPct val="100000"/>
              </a:lnSpc>
              <a:spcBef>
                <a:spcPts val="0"/>
              </a:spcBef>
              <a:spcAft>
                <a:spcPts val="300"/>
              </a:spcAft>
              <a:buClrTx/>
              <a:buSzPct val="100000"/>
              <a:buFontTx/>
              <a:buNone/>
              <a:tabLst/>
              <a:defRPr/>
            </a:pPr>
            <a:r>
              <a:rPr kumimoji="0" lang="en-US" sz="1600" b="0" i="0" u="none" strike="noStrike" kern="0" cap="none" spc="0" normalizeH="0" baseline="0" noProof="0" dirty="0">
                <a:ln>
                  <a:noFill/>
                </a:ln>
                <a:solidFill>
                  <a:prstClr val="black"/>
                </a:solidFill>
                <a:effectLst/>
                <a:uLnTx/>
                <a:uFillTx/>
                <a:latin typeface="Calibri"/>
                <a:ea typeface="Open Sans" panose="020B0606030504020204" pitchFamily="34" charset="0"/>
                <a:cs typeface="Open Sans" panose="020B0606030504020204" pitchFamily="34" charset="0"/>
              </a:rPr>
              <a:t>An 8-week, full-time bootcamp focused on equipping new hires with the skills needed to be deployed as an AI analyst</a:t>
            </a:r>
            <a:endParaRPr kumimoji="0" lang="en-US" sz="1600" b="1" i="0" u="none" strike="noStrike" kern="1200" cap="all" spc="0" normalizeH="0" baseline="0" noProof="0" dirty="0">
              <a:ln>
                <a:noFill/>
              </a:ln>
              <a:solidFill>
                <a:prstClr val="black"/>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127" name="Rectangle 126">
            <a:extLst>
              <a:ext uri="{FF2B5EF4-FFF2-40B4-BE49-F238E27FC236}">
                <a16:creationId xmlns:a16="http://schemas.microsoft.com/office/drawing/2014/main" id="{A8D31464-394C-49A2-AF4C-7794128EB511}"/>
              </a:ext>
            </a:extLst>
          </p:cNvPr>
          <p:cNvSpPr/>
          <p:nvPr/>
        </p:nvSpPr>
        <p:spPr>
          <a:xfrm>
            <a:off x="4288396" y="4241268"/>
            <a:ext cx="3568279" cy="2159422"/>
          </a:xfrm>
          <a:prstGeom prst="rect">
            <a:avLst/>
          </a:prstGeom>
          <a:solidFill>
            <a:srgbClr val="F8F8F8"/>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bIns="182880" rtlCol="0" anchor="b"/>
          <a:lstStyle/>
          <a:p>
            <a:pPr marL="0" marR="0" lvl="0" indent="0" algn="ctr" defTabSz="685800" rtl="0" eaLnBrk="1" fontAlgn="auto" latinLnBrk="0" hangingPunct="1">
              <a:lnSpc>
                <a:spcPct val="100000"/>
              </a:lnSpc>
              <a:spcBef>
                <a:spcPts val="0"/>
              </a:spcBef>
              <a:spcAft>
                <a:spcPts val="300"/>
              </a:spcAft>
              <a:buClrTx/>
              <a:buSzPct val="100000"/>
              <a:buFontTx/>
              <a:buNone/>
              <a:tabLst/>
              <a:defRPr/>
            </a:pPr>
            <a:r>
              <a:rPr kumimoji="0" lang="en-US" sz="1600" b="1" i="0" u="none" strike="noStrike" kern="1200" cap="all" spc="0" normalizeH="0" baseline="0" noProof="0" dirty="0">
                <a:ln>
                  <a:noFill/>
                </a:ln>
                <a:solidFill>
                  <a:prstClr val="black"/>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APPLIED AI THROUGH Business and Domain Content</a:t>
            </a:r>
          </a:p>
          <a:p>
            <a:pPr marL="0" marR="0" lvl="0" indent="0" algn="ctr" defTabSz="685800" rtl="0" eaLnBrk="1" fontAlgn="auto" latinLnBrk="0" hangingPunct="1">
              <a:lnSpc>
                <a:spcPct val="100000"/>
              </a:lnSpc>
              <a:spcBef>
                <a:spcPts val="0"/>
              </a:spcBef>
              <a:spcAft>
                <a:spcPts val="300"/>
              </a:spcAft>
              <a:buClrTx/>
              <a:buSzPct val="100000"/>
              <a:buFontTx/>
              <a:buNone/>
              <a:tabLst/>
              <a:defRPr/>
            </a:pPr>
            <a:r>
              <a:rPr kumimoji="0" lang="en-US" sz="1600" b="0" i="0" u="none" strike="noStrike" kern="0" cap="none" spc="0" normalizeH="0" baseline="0" noProof="0" dirty="0">
                <a:ln>
                  <a:noFill/>
                </a:ln>
                <a:solidFill>
                  <a:prstClr val="black"/>
                </a:solidFill>
                <a:effectLst/>
                <a:uLnTx/>
                <a:uFillTx/>
                <a:latin typeface="Calibri"/>
                <a:ea typeface="Open Sans" panose="020B0606030504020204" pitchFamily="34" charset="0"/>
                <a:cs typeface="Open Sans" panose="020B0606030504020204" pitchFamily="34" charset="0"/>
              </a:rPr>
              <a:t>A customized curriculum designed and delivered by FSS/OP and industry subject matter experts from Deloitte</a:t>
            </a:r>
          </a:p>
        </p:txBody>
      </p:sp>
      <p:sp>
        <p:nvSpPr>
          <p:cNvPr id="128" name="Rectangle 127">
            <a:extLst>
              <a:ext uri="{FF2B5EF4-FFF2-40B4-BE49-F238E27FC236}">
                <a16:creationId xmlns:a16="http://schemas.microsoft.com/office/drawing/2014/main" id="{10CAB081-1618-4DE6-B3D0-8BE15A3ADF8D}"/>
              </a:ext>
            </a:extLst>
          </p:cNvPr>
          <p:cNvSpPr/>
          <p:nvPr/>
        </p:nvSpPr>
        <p:spPr>
          <a:xfrm>
            <a:off x="8066715" y="4230386"/>
            <a:ext cx="3565381" cy="2159825"/>
          </a:xfrm>
          <a:prstGeom prst="rect">
            <a:avLst/>
          </a:prstGeom>
          <a:solidFill>
            <a:srgbClr val="F8F8F8"/>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bIns="182880" rtlCol="0" anchor="b"/>
          <a:lstStyle/>
          <a:p>
            <a:pPr marL="0" marR="0" lvl="0" indent="0" algn="ctr" defTabSz="685800" rtl="0" eaLnBrk="1" fontAlgn="auto" latinLnBrk="0" hangingPunct="1">
              <a:lnSpc>
                <a:spcPct val="100000"/>
              </a:lnSpc>
              <a:spcBef>
                <a:spcPts val="0"/>
              </a:spcBef>
              <a:spcAft>
                <a:spcPts val="300"/>
              </a:spcAft>
              <a:buClrTx/>
              <a:buSzPct val="100000"/>
              <a:buFontTx/>
              <a:buNone/>
              <a:tabLst/>
              <a:defRPr/>
            </a:pPr>
            <a:r>
              <a:rPr kumimoji="0" lang="en-US" sz="1600" b="1" i="0" u="none" strike="noStrike" kern="1200" cap="all" spc="0" normalizeH="0" baseline="0" noProof="0" dirty="0">
                <a:ln>
                  <a:noFill/>
                </a:ln>
                <a:solidFill>
                  <a:prstClr val="black"/>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Professional Skills</a:t>
            </a:r>
          </a:p>
          <a:p>
            <a:pPr marL="0" marR="0" lvl="0" indent="0" algn="ctr" defTabSz="685800" rtl="0" eaLnBrk="1" fontAlgn="auto" latinLnBrk="0" hangingPunct="1">
              <a:lnSpc>
                <a:spcPct val="100000"/>
              </a:lnSpc>
              <a:spcBef>
                <a:spcPts val="0"/>
              </a:spcBef>
              <a:spcAft>
                <a:spcPts val="300"/>
              </a:spcAft>
              <a:buClrTx/>
              <a:buSzPct val="100000"/>
              <a:buFontTx/>
              <a:buNone/>
              <a:tabLst/>
              <a:defRPr/>
            </a:pPr>
            <a:r>
              <a:rPr lang="en-US" sz="1600" kern="0" dirty="0">
                <a:solidFill>
                  <a:prstClr val="black"/>
                </a:solidFill>
                <a:latin typeface="Calibri"/>
                <a:ea typeface="Open Sans" panose="020B0606030504020204" pitchFamily="34" charset="0"/>
                <a:cs typeface="Open Sans" panose="020B0606030504020204" pitchFamily="34" charset="0"/>
              </a:rPr>
              <a:t>Foundational</a:t>
            </a:r>
            <a:r>
              <a:rPr kumimoji="0" lang="en-US" sz="1600" b="0" i="0" u="none" strike="noStrike" kern="0" cap="none" spc="0" normalizeH="0" baseline="0" noProof="0" dirty="0">
                <a:ln>
                  <a:noFill/>
                </a:ln>
                <a:solidFill>
                  <a:prstClr val="black"/>
                </a:solidFill>
                <a:effectLst/>
                <a:uLnTx/>
                <a:uFillTx/>
                <a:latin typeface="Calibri"/>
                <a:ea typeface="Open Sans" panose="020B0606030504020204" pitchFamily="34" charset="0"/>
                <a:cs typeface="Open Sans" panose="020B0606030504020204" pitchFamily="34" charset="0"/>
              </a:rPr>
              <a:t> professional skills such as communications, teaming, stakeholder management, and presentation</a:t>
            </a:r>
          </a:p>
        </p:txBody>
      </p:sp>
      <p:sp>
        <p:nvSpPr>
          <p:cNvPr id="129" name="Rectangle 128">
            <a:extLst>
              <a:ext uri="{FF2B5EF4-FFF2-40B4-BE49-F238E27FC236}">
                <a16:creationId xmlns:a16="http://schemas.microsoft.com/office/drawing/2014/main" id="{044E9AFF-DC54-4E34-BEBE-9A987832F988}"/>
              </a:ext>
            </a:extLst>
          </p:cNvPr>
          <p:cNvSpPr/>
          <p:nvPr/>
        </p:nvSpPr>
        <p:spPr>
          <a:xfrm>
            <a:off x="4284529" y="1949892"/>
            <a:ext cx="3571180" cy="2159422"/>
          </a:xfrm>
          <a:prstGeom prst="rect">
            <a:avLst/>
          </a:prstGeom>
          <a:solidFill>
            <a:srgbClr val="F8F8F8"/>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bIns="182880" rtlCol="0" anchor="b"/>
          <a:lstStyle/>
          <a:p>
            <a:pPr marL="0" marR="0" lvl="0" indent="0" algn="ctr" defTabSz="685800" rtl="0" eaLnBrk="1" fontAlgn="auto" latinLnBrk="0" hangingPunct="1">
              <a:lnSpc>
                <a:spcPct val="100000"/>
              </a:lnSpc>
              <a:spcBef>
                <a:spcPts val="0"/>
              </a:spcBef>
              <a:spcAft>
                <a:spcPts val="300"/>
              </a:spcAft>
              <a:buClrTx/>
              <a:buSzPct val="100000"/>
              <a:buFontTx/>
              <a:buNone/>
              <a:tabLst/>
              <a:defRPr/>
            </a:pPr>
            <a:r>
              <a:rPr kumimoji="0" lang="en-US" sz="1600" b="1" i="0" u="none" strike="noStrike" kern="1200" cap="all" spc="0" normalizeH="0" baseline="0" noProof="0" dirty="0">
                <a:ln>
                  <a:noFill/>
                </a:ln>
                <a:solidFill>
                  <a:prstClr val="black"/>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DIVERSE STUDENT PROFILES</a:t>
            </a:r>
          </a:p>
          <a:p>
            <a:pPr marL="0" marR="0" lvl="0" indent="0" algn="ctr" defTabSz="685800" rtl="0" eaLnBrk="1" fontAlgn="auto" latinLnBrk="0" hangingPunct="1">
              <a:lnSpc>
                <a:spcPct val="100000"/>
              </a:lnSpc>
              <a:spcBef>
                <a:spcPts val="0"/>
              </a:spcBef>
              <a:spcAft>
                <a:spcPts val="300"/>
              </a:spcAft>
              <a:buClrTx/>
              <a:buSzPct val="100000"/>
              <a:buFontTx/>
              <a:buNone/>
              <a:tabLst/>
              <a:defRPr/>
            </a:pPr>
            <a:r>
              <a:rPr kumimoji="0" lang="en-US" sz="1600" b="0" i="0" u="none" strike="noStrike" kern="0" cap="none" spc="0" normalizeH="0" baseline="0" noProof="0" dirty="0">
                <a:ln>
                  <a:noFill/>
                </a:ln>
                <a:solidFill>
                  <a:prstClr val="black"/>
                </a:solidFill>
                <a:effectLst/>
                <a:uLnTx/>
                <a:uFillTx/>
                <a:latin typeface="Calibri"/>
                <a:ea typeface="Open Sans" panose="020B0606030504020204" pitchFamily="34" charset="0"/>
                <a:cs typeface="Open Sans" panose="020B0606030504020204" pitchFamily="34" charset="0"/>
              </a:rPr>
              <a:t>Students from all businesses who bring a diverse set of academic knowledge in math, stats, computer science, and more</a:t>
            </a:r>
          </a:p>
        </p:txBody>
      </p:sp>
      <p:sp>
        <p:nvSpPr>
          <p:cNvPr id="178" name="Rectangle 177">
            <a:extLst>
              <a:ext uri="{FF2B5EF4-FFF2-40B4-BE49-F238E27FC236}">
                <a16:creationId xmlns:a16="http://schemas.microsoft.com/office/drawing/2014/main" id="{AFDF43ED-00DA-451F-AFD7-1E232929C4DA}"/>
              </a:ext>
            </a:extLst>
          </p:cNvPr>
          <p:cNvSpPr/>
          <p:nvPr/>
        </p:nvSpPr>
        <p:spPr>
          <a:xfrm>
            <a:off x="513572" y="4241268"/>
            <a:ext cx="3568279" cy="2159422"/>
          </a:xfrm>
          <a:prstGeom prst="rect">
            <a:avLst/>
          </a:prstGeom>
          <a:solidFill>
            <a:srgbClr val="F8F8F8"/>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bIns="182880" rtlCol="0" anchor="b"/>
          <a:lstStyle/>
          <a:p>
            <a:pPr marL="0" marR="0" lvl="0" indent="0" algn="ctr" defTabSz="685800" rtl="0" eaLnBrk="1" fontAlgn="auto" latinLnBrk="0" hangingPunct="1">
              <a:lnSpc>
                <a:spcPct val="100000"/>
              </a:lnSpc>
              <a:spcBef>
                <a:spcPts val="0"/>
              </a:spcBef>
              <a:spcAft>
                <a:spcPts val="300"/>
              </a:spcAft>
              <a:buClrTx/>
              <a:buSzPct val="100000"/>
              <a:buFontTx/>
              <a:buNone/>
              <a:tabLst/>
              <a:defRPr/>
            </a:pPr>
            <a:r>
              <a:rPr lang="en-US" sz="1600" b="1" cap="all" dirty="0">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CORE DATA AND </a:t>
            </a:r>
            <a:r>
              <a:rPr kumimoji="0" lang="en-US" sz="1600" b="1" i="0" u="none" strike="noStrike" kern="1200" cap="all" spc="0" normalizeH="0" baseline="0" noProof="0" dirty="0">
                <a:ln>
                  <a:noFill/>
                </a:ln>
                <a:solidFill>
                  <a:prstClr val="black"/>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AI Technical Skills</a:t>
            </a:r>
            <a:r>
              <a:rPr lang="en-US" sz="1600" b="1" cap="all" dirty="0">
                <a:solidFill>
                  <a:prstClr val="black"/>
                </a:solidFill>
                <a:latin typeface="Open Sans Semibold" panose="020B0706030804020204" pitchFamily="34" charset="0"/>
                <a:ea typeface="Open Sans Semibold" panose="020B0706030804020204" pitchFamily="34" charset="0"/>
                <a:cs typeface="Open Sans Semibold" panose="020B0706030804020204" pitchFamily="34" charset="0"/>
              </a:rPr>
              <a:t> and </a:t>
            </a:r>
            <a:r>
              <a:rPr kumimoji="0" lang="en-US" sz="1600" b="1" i="0" u="none" strike="noStrike" kern="1200" cap="all" spc="0" normalizeH="0" baseline="0" noProof="0" dirty="0">
                <a:ln>
                  <a:noFill/>
                </a:ln>
                <a:solidFill>
                  <a:prstClr val="black"/>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TECHNIQUES</a:t>
            </a:r>
          </a:p>
          <a:p>
            <a:pPr marL="0" marR="0" lvl="0" indent="0" algn="ctr" defTabSz="685800" rtl="0" eaLnBrk="1" fontAlgn="auto" latinLnBrk="0" hangingPunct="1">
              <a:lnSpc>
                <a:spcPct val="100000"/>
              </a:lnSpc>
              <a:spcBef>
                <a:spcPts val="0"/>
              </a:spcBef>
              <a:spcAft>
                <a:spcPts val="300"/>
              </a:spcAft>
              <a:buClrTx/>
              <a:buSzPct val="100000"/>
              <a:buFontTx/>
              <a:buNone/>
              <a:tabLst/>
              <a:defRPr/>
            </a:pPr>
            <a:r>
              <a:rPr kumimoji="0" lang="en-US" sz="1600" b="0" i="0" u="none" strike="noStrike" kern="0" cap="none" spc="0" normalizeH="0" baseline="0" noProof="0" dirty="0">
                <a:ln>
                  <a:noFill/>
                </a:ln>
                <a:solidFill>
                  <a:prstClr val="black"/>
                </a:solidFill>
                <a:effectLst/>
                <a:uLnTx/>
                <a:uFillTx/>
                <a:latin typeface="Calibri"/>
                <a:ea typeface="Open Sans" panose="020B0606030504020204" pitchFamily="34" charset="0"/>
                <a:cs typeface="Open Sans" panose="020B0606030504020204" pitchFamily="34" charset="0"/>
              </a:rPr>
              <a:t>Core data </a:t>
            </a:r>
            <a:r>
              <a:rPr lang="en-US" sz="1600" kern="0" dirty="0">
                <a:solidFill>
                  <a:prstClr val="black"/>
                </a:solidFill>
                <a:latin typeface="Calibri"/>
                <a:ea typeface="Open Sans" panose="020B0606030504020204" pitchFamily="34" charset="0"/>
                <a:cs typeface="Open Sans" panose="020B0606030504020204" pitchFamily="34" charset="0"/>
              </a:rPr>
              <a:t>and AI skills </a:t>
            </a:r>
            <a:r>
              <a:rPr kumimoji="0" lang="en-US" sz="1600" b="0" i="0" u="none" strike="noStrike" kern="0" cap="none" spc="0" normalizeH="0" baseline="0" noProof="0" dirty="0">
                <a:ln>
                  <a:noFill/>
                </a:ln>
                <a:solidFill>
                  <a:prstClr val="black"/>
                </a:solidFill>
                <a:effectLst/>
                <a:uLnTx/>
                <a:uFillTx/>
                <a:latin typeface="Calibri"/>
                <a:ea typeface="Open Sans" panose="020B0606030504020204" pitchFamily="34" charset="0"/>
                <a:cs typeface="Open Sans" panose="020B0606030504020204" pitchFamily="34" charset="0"/>
              </a:rPr>
              <a:t>through real-world simulations, hands-on experience, assessments, and an intensive capstone</a:t>
            </a:r>
          </a:p>
        </p:txBody>
      </p:sp>
      <p:grpSp>
        <p:nvGrpSpPr>
          <p:cNvPr id="179" name="Group 178">
            <a:extLst>
              <a:ext uri="{FF2B5EF4-FFF2-40B4-BE49-F238E27FC236}">
                <a16:creationId xmlns:a16="http://schemas.microsoft.com/office/drawing/2014/main" id="{E783FBB8-ECE0-4FC8-A439-8443A78FA5E4}"/>
              </a:ext>
            </a:extLst>
          </p:cNvPr>
          <p:cNvGrpSpPr/>
          <p:nvPr/>
        </p:nvGrpSpPr>
        <p:grpSpPr>
          <a:xfrm>
            <a:off x="1895393" y="4335559"/>
            <a:ext cx="581376" cy="580827"/>
            <a:chOff x="5489498" y="4207762"/>
            <a:chExt cx="732211" cy="731520"/>
          </a:xfrm>
          <a:solidFill>
            <a:schemeClr val="accent4"/>
          </a:solidFill>
        </p:grpSpPr>
        <p:sp>
          <p:nvSpPr>
            <p:cNvPr id="180" name="Graphic 4">
              <a:extLst>
                <a:ext uri="{FF2B5EF4-FFF2-40B4-BE49-F238E27FC236}">
                  <a16:creationId xmlns:a16="http://schemas.microsoft.com/office/drawing/2014/main" id="{D9D8F1AE-AB20-4EE5-8B96-15EDC9794B19}"/>
                </a:ext>
              </a:extLst>
            </p:cNvPr>
            <p:cNvSpPr/>
            <p:nvPr/>
          </p:nvSpPr>
          <p:spPr>
            <a:xfrm>
              <a:off x="5489498" y="4207762"/>
              <a:ext cx="732211" cy="731520"/>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305439 w 362313"/>
                <a:gd name="connsiteY7" fmla="*/ 193435 h 361971"/>
                <a:gd name="connsiteX8" fmla="*/ 298410 w 362313"/>
                <a:gd name="connsiteY8" fmla="*/ 203649 h 361971"/>
                <a:gd name="connsiteX9" fmla="*/ 282435 w 362313"/>
                <a:gd name="connsiteY9" fmla="*/ 209395 h 361971"/>
                <a:gd name="connsiteX10" fmla="*/ 276684 w 362313"/>
                <a:gd name="connsiteY10" fmla="*/ 225355 h 361971"/>
                <a:gd name="connsiteX11" fmla="*/ 285630 w 362313"/>
                <a:gd name="connsiteY11" fmla="*/ 240038 h 361971"/>
                <a:gd name="connsiteX12" fmla="*/ 284991 w 362313"/>
                <a:gd name="connsiteY12" fmla="*/ 252806 h 361971"/>
                <a:gd name="connsiteX13" fmla="*/ 269016 w 362313"/>
                <a:gd name="connsiteY13" fmla="*/ 271958 h 361971"/>
                <a:gd name="connsiteX14" fmla="*/ 256876 w 362313"/>
                <a:gd name="connsiteY14" fmla="*/ 275150 h 361971"/>
                <a:gd name="connsiteX15" fmla="*/ 240901 w 362313"/>
                <a:gd name="connsiteY15" fmla="*/ 268766 h 361971"/>
                <a:gd name="connsiteX16" fmla="*/ 226204 w 362313"/>
                <a:gd name="connsiteY16" fmla="*/ 277065 h 361971"/>
                <a:gd name="connsiteX17" fmla="*/ 223648 w 362313"/>
                <a:gd name="connsiteY17" fmla="*/ 294302 h 361971"/>
                <a:gd name="connsiteX18" fmla="*/ 214702 w 362313"/>
                <a:gd name="connsiteY18" fmla="*/ 302601 h 361971"/>
                <a:gd name="connsiteX19" fmla="*/ 190420 w 362313"/>
                <a:gd name="connsiteY19" fmla="*/ 307070 h 361971"/>
                <a:gd name="connsiteX20" fmla="*/ 188503 w 362313"/>
                <a:gd name="connsiteY20" fmla="*/ 307070 h 361971"/>
                <a:gd name="connsiteX21" fmla="*/ 178918 w 362313"/>
                <a:gd name="connsiteY21" fmla="*/ 301324 h 361971"/>
                <a:gd name="connsiteX22" fmla="*/ 170611 w 362313"/>
                <a:gd name="connsiteY22" fmla="*/ 286641 h 361971"/>
                <a:gd name="connsiteX23" fmla="*/ 153998 w 362313"/>
                <a:gd name="connsiteY23" fmla="*/ 283449 h 361971"/>
                <a:gd name="connsiteX24" fmla="*/ 141218 w 362313"/>
                <a:gd name="connsiteY24" fmla="*/ 294940 h 361971"/>
                <a:gd name="connsiteX25" fmla="*/ 128438 w 362313"/>
                <a:gd name="connsiteY25" fmla="*/ 296217 h 361971"/>
                <a:gd name="connsiteX26" fmla="*/ 106712 w 362313"/>
                <a:gd name="connsiteY26" fmla="*/ 284087 h 361971"/>
                <a:gd name="connsiteX27" fmla="*/ 101600 w 362313"/>
                <a:gd name="connsiteY27" fmla="*/ 272596 h 361971"/>
                <a:gd name="connsiteX28" fmla="*/ 104795 w 362313"/>
                <a:gd name="connsiteY28" fmla="*/ 255998 h 361971"/>
                <a:gd name="connsiteX29" fmla="*/ 93932 w 362313"/>
                <a:gd name="connsiteY29" fmla="*/ 243230 h 361971"/>
                <a:gd name="connsiteX30" fmla="*/ 76679 w 362313"/>
                <a:gd name="connsiteY30" fmla="*/ 243230 h 361971"/>
                <a:gd name="connsiteX31" fmla="*/ 66455 w 362313"/>
                <a:gd name="connsiteY31" fmla="*/ 236207 h 361971"/>
                <a:gd name="connsiteX32" fmla="*/ 58148 w 362313"/>
                <a:gd name="connsiteY32" fmla="*/ 213225 h 361971"/>
                <a:gd name="connsiteX33" fmla="*/ 61343 w 362313"/>
                <a:gd name="connsiteY33" fmla="*/ 201095 h 361971"/>
                <a:gd name="connsiteX34" fmla="*/ 74762 w 362313"/>
                <a:gd name="connsiteY34" fmla="*/ 190243 h 361971"/>
                <a:gd name="connsiteX35" fmla="*/ 74762 w 362313"/>
                <a:gd name="connsiteY35" fmla="*/ 173006 h 361971"/>
                <a:gd name="connsiteX36" fmla="*/ 61343 w 362313"/>
                <a:gd name="connsiteY36" fmla="*/ 162153 h 361971"/>
                <a:gd name="connsiteX37" fmla="*/ 58148 w 362313"/>
                <a:gd name="connsiteY37" fmla="*/ 150024 h 361971"/>
                <a:gd name="connsiteX38" fmla="*/ 66455 w 362313"/>
                <a:gd name="connsiteY38" fmla="*/ 127041 h 361971"/>
                <a:gd name="connsiteX39" fmla="*/ 76679 w 362313"/>
                <a:gd name="connsiteY39" fmla="*/ 120019 h 361971"/>
                <a:gd name="connsiteX40" fmla="*/ 93932 w 362313"/>
                <a:gd name="connsiteY40" fmla="*/ 120657 h 361971"/>
                <a:gd name="connsiteX41" fmla="*/ 104795 w 362313"/>
                <a:gd name="connsiteY41" fmla="*/ 107889 h 361971"/>
                <a:gd name="connsiteX42" fmla="*/ 101600 w 362313"/>
                <a:gd name="connsiteY42" fmla="*/ 91291 h 361971"/>
                <a:gd name="connsiteX43" fmla="*/ 106712 w 362313"/>
                <a:gd name="connsiteY43" fmla="*/ 79800 h 361971"/>
                <a:gd name="connsiteX44" fmla="*/ 128438 w 362313"/>
                <a:gd name="connsiteY44" fmla="*/ 67670 h 361971"/>
                <a:gd name="connsiteX45" fmla="*/ 140579 w 362313"/>
                <a:gd name="connsiteY45" fmla="*/ 68947 h 361971"/>
                <a:gd name="connsiteX46" fmla="*/ 153358 w 362313"/>
                <a:gd name="connsiteY46" fmla="*/ 80438 h 361971"/>
                <a:gd name="connsiteX47" fmla="*/ 169972 w 362313"/>
                <a:gd name="connsiteY47" fmla="*/ 77246 h 361971"/>
                <a:gd name="connsiteX48" fmla="*/ 178279 w 362313"/>
                <a:gd name="connsiteY48" fmla="*/ 62563 h 361971"/>
                <a:gd name="connsiteX49" fmla="*/ 189781 w 362313"/>
                <a:gd name="connsiteY49" fmla="*/ 57456 h 361971"/>
                <a:gd name="connsiteX50" fmla="*/ 214063 w 362313"/>
                <a:gd name="connsiteY50" fmla="*/ 61925 h 361971"/>
                <a:gd name="connsiteX51" fmla="*/ 223009 w 362313"/>
                <a:gd name="connsiteY51" fmla="*/ 70862 h 361971"/>
                <a:gd name="connsiteX52" fmla="*/ 225565 w 362313"/>
                <a:gd name="connsiteY52" fmla="*/ 87461 h 361971"/>
                <a:gd name="connsiteX53" fmla="*/ 240262 w 362313"/>
                <a:gd name="connsiteY53" fmla="*/ 95760 h 361971"/>
                <a:gd name="connsiteX54" fmla="*/ 256237 w 362313"/>
                <a:gd name="connsiteY54" fmla="*/ 89376 h 361971"/>
                <a:gd name="connsiteX55" fmla="*/ 268377 w 362313"/>
                <a:gd name="connsiteY55" fmla="*/ 92568 h 361971"/>
                <a:gd name="connsiteX56" fmla="*/ 284352 w 362313"/>
                <a:gd name="connsiteY56" fmla="*/ 111720 h 361971"/>
                <a:gd name="connsiteX57" fmla="*/ 284991 w 362313"/>
                <a:gd name="connsiteY57" fmla="*/ 123849 h 361971"/>
                <a:gd name="connsiteX58" fmla="*/ 276045 w 362313"/>
                <a:gd name="connsiteY58" fmla="*/ 138533 h 361971"/>
                <a:gd name="connsiteX59" fmla="*/ 281796 w 362313"/>
                <a:gd name="connsiteY59" fmla="*/ 154492 h 361971"/>
                <a:gd name="connsiteX60" fmla="*/ 297771 w 362313"/>
                <a:gd name="connsiteY60" fmla="*/ 160238 h 361971"/>
                <a:gd name="connsiteX61" fmla="*/ 304800 w 362313"/>
                <a:gd name="connsiteY61" fmla="*/ 170452 h 361971"/>
                <a:gd name="connsiteX62" fmla="*/ 305439 w 362313"/>
                <a:gd name="connsiteY62" fmla="*/ 19343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7"/>
                    <a:pt x="281796" y="0"/>
                    <a:pt x="181474" y="0"/>
                  </a:cubicBezTo>
                  <a:lnTo>
                    <a:pt x="181474" y="0"/>
                  </a:lnTo>
                  <a:close/>
                  <a:moveTo>
                    <a:pt x="305439" y="193435"/>
                  </a:moveTo>
                  <a:cubicBezTo>
                    <a:pt x="305439" y="197903"/>
                    <a:pt x="302244" y="202372"/>
                    <a:pt x="298410" y="203649"/>
                  </a:cubicBezTo>
                  <a:lnTo>
                    <a:pt x="282435" y="209395"/>
                  </a:lnTo>
                  <a:lnTo>
                    <a:pt x="276684" y="225355"/>
                  </a:lnTo>
                  <a:lnTo>
                    <a:pt x="285630" y="240038"/>
                  </a:lnTo>
                  <a:cubicBezTo>
                    <a:pt x="288186" y="243868"/>
                    <a:pt x="287547" y="248975"/>
                    <a:pt x="284991" y="252806"/>
                  </a:cubicBezTo>
                  <a:lnTo>
                    <a:pt x="269016" y="271958"/>
                  </a:lnTo>
                  <a:cubicBezTo>
                    <a:pt x="265821" y="275788"/>
                    <a:pt x="261348" y="276426"/>
                    <a:pt x="256876" y="275150"/>
                  </a:cubicBezTo>
                  <a:lnTo>
                    <a:pt x="240901" y="268766"/>
                  </a:lnTo>
                  <a:lnTo>
                    <a:pt x="226204" y="277065"/>
                  </a:lnTo>
                  <a:lnTo>
                    <a:pt x="223648" y="294302"/>
                  </a:lnTo>
                  <a:cubicBezTo>
                    <a:pt x="223009" y="298770"/>
                    <a:pt x="219175" y="301962"/>
                    <a:pt x="214702" y="302601"/>
                  </a:cubicBezTo>
                  <a:lnTo>
                    <a:pt x="190420" y="307070"/>
                  </a:lnTo>
                  <a:lnTo>
                    <a:pt x="188503" y="307070"/>
                  </a:lnTo>
                  <a:cubicBezTo>
                    <a:pt x="184669" y="307070"/>
                    <a:pt x="180835" y="305154"/>
                    <a:pt x="178918" y="301324"/>
                  </a:cubicBezTo>
                  <a:lnTo>
                    <a:pt x="170611" y="286641"/>
                  </a:lnTo>
                  <a:lnTo>
                    <a:pt x="153998" y="283449"/>
                  </a:lnTo>
                  <a:lnTo>
                    <a:pt x="141218" y="294940"/>
                  </a:lnTo>
                  <a:cubicBezTo>
                    <a:pt x="137384" y="298132"/>
                    <a:pt x="132272" y="298770"/>
                    <a:pt x="128438" y="296217"/>
                  </a:cubicBezTo>
                  <a:lnTo>
                    <a:pt x="106712" y="284087"/>
                  </a:lnTo>
                  <a:cubicBezTo>
                    <a:pt x="102878" y="281534"/>
                    <a:pt x="100961" y="277065"/>
                    <a:pt x="101600" y="272596"/>
                  </a:cubicBezTo>
                  <a:lnTo>
                    <a:pt x="104795" y="255998"/>
                  </a:lnTo>
                  <a:lnTo>
                    <a:pt x="93932" y="243230"/>
                  </a:lnTo>
                  <a:lnTo>
                    <a:pt x="76679" y="243230"/>
                  </a:lnTo>
                  <a:cubicBezTo>
                    <a:pt x="72206" y="243230"/>
                    <a:pt x="67733" y="240676"/>
                    <a:pt x="66455" y="236207"/>
                  </a:cubicBezTo>
                  <a:lnTo>
                    <a:pt x="58148" y="213225"/>
                  </a:lnTo>
                  <a:cubicBezTo>
                    <a:pt x="56870" y="208756"/>
                    <a:pt x="58148" y="204287"/>
                    <a:pt x="61343" y="201095"/>
                  </a:cubicBezTo>
                  <a:lnTo>
                    <a:pt x="74762" y="190243"/>
                  </a:lnTo>
                  <a:lnTo>
                    <a:pt x="74762" y="173006"/>
                  </a:lnTo>
                  <a:lnTo>
                    <a:pt x="61343" y="162153"/>
                  </a:lnTo>
                  <a:cubicBezTo>
                    <a:pt x="57509" y="159600"/>
                    <a:pt x="56231" y="154492"/>
                    <a:pt x="58148" y="150024"/>
                  </a:cubicBezTo>
                  <a:lnTo>
                    <a:pt x="66455" y="127041"/>
                  </a:lnTo>
                  <a:cubicBezTo>
                    <a:pt x="68372" y="122573"/>
                    <a:pt x="72206" y="120019"/>
                    <a:pt x="76679" y="120019"/>
                  </a:cubicBezTo>
                  <a:lnTo>
                    <a:pt x="93932" y="120657"/>
                  </a:lnTo>
                  <a:lnTo>
                    <a:pt x="104795" y="107889"/>
                  </a:lnTo>
                  <a:lnTo>
                    <a:pt x="101600" y="91291"/>
                  </a:lnTo>
                  <a:cubicBezTo>
                    <a:pt x="100961" y="86822"/>
                    <a:pt x="102878" y="82354"/>
                    <a:pt x="106712" y="79800"/>
                  </a:cubicBezTo>
                  <a:lnTo>
                    <a:pt x="128438" y="67670"/>
                  </a:lnTo>
                  <a:cubicBezTo>
                    <a:pt x="132272" y="65117"/>
                    <a:pt x="137384" y="65755"/>
                    <a:pt x="140579" y="68947"/>
                  </a:cubicBezTo>
                  <a:lnTo>
                    <a:pt x="153358" y="80438"/>
                  </a:lnTo>
                  <a:lnTo>
                    <a:pt x="169972" y="77246"/>
                  </a:lnTo>
                  <a:lnTo>
                    <a:pt x="178279" y="62563"/>
                  </a:lnTo>
                  <a:cubicBezTo>
                    <a:pt x="180196" y="58733"/>
                    <a:pt x="184669" y="56179"/>
                    <a:pt x="189781" y="57456"/>
                  </a:cubicBezTo>
                  <a:lnTo>
                    <a:pt x="214063" y="61925"/>
                  </a:lnTo>
                  <a:cubicBezTo>
                    <a:pt x="218536" y="62563"/>
                    <a:pt x="222370" y="66394"/>
                    <a:pt x="223009" y="70862"/>
                  </a:cubicBezTo>
                  <a:lnTo>
                    <a:pt x="225565" y="87461"/>
                  </a:lnTo>
                  <a:lnTo>
                    <a:pt x="240262" y="95760"/>
                  </a:lnTo>
                  <a:lnTo>
                    <a:pt x="256237" y="89376"/>
                  </a:lnTo>
                  <a:cubicBezTo>
                    <a:pt x="260709" y="87461"/>
                    <a:pt x="265182" y="88738"/>
                    <a:pt x="268377" y="92568"/>
                  </a:cubicBezTo>
                  <a:lnTo>
                    <a:pt x="284352" y="111720"/>
                  </a:lnTo>
                  <a:cubicBezTo>
                    <a:pt x="287547" y="114912"/>
                    <a:pt x="287547" y="120019"/>
                    <a:pt x="284991" y="123849"/>
                  </a:cubicBezTo>
                  <a:lnTo>
                    <a:pt x="276045" y="138533"/>
                  </a:lnTo>
                  <a:lnTo>
                    <a:pt x="281796" y="154492"/>
                  </a:lnTo>
                  <a:lnTo>
                    <a:pt x="297771" y="160238"/>
                  </a:lnTo>
                  <a:cubicBezTo>
                    <a:pt x="302244" y="161515"/>
                    <a:pt x="304800" y="165984"/>
                    <a:pt x="304800" y="170452"/>
                  </a:cubicBezTo>
                  <a:lnTo>
                    <a:pt x="305439" y="193435"/>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1" name="Graphic 4">
              <a:extLst>
                <a:ext uri="{FF2B5EF4-FFF2-40B4-BE49-F238E27FC236}">
                  <a16:creationId xmlns:a16="http://schemas.microsoft.com/office/drawing/2014/main" id="{8FA0C366-5972-46A3-AD67-44946AE8E7A2}"/>
                </a:ext>
              </a:extLst>
            </p:cNvPr>
            <p:cNvSpPr/>
            <p:nvPr/>
          </p:nvSpPr>
          <p:spPr>
            <a:xfrm>
              <a:off x="5711613" y="4430958"/>
              <a:ext cx="284540" cy="285564"/>
            </a:xfrm>
            <a:custGeom>
              <a:avLst/>
              <a:gdLst>
                <a:gd name="connsiteX0" fmla="*/ 70289 w 140796"/>
                <a:gd name="connsiteY0" fmla="*/ 0 h 141303"/>
                <a:gd name="connsiteX1" fmla="*/ 0 w 140796"/>
                <a:gd name="connsiteY1" fmla="*/ 70224 h 141303"/>
                <a:gd name="connsiteX2" fmla="*/ 7668 w 140796"/>
                <a:gd name="connsiteY2" fmla="*/ 102144 h 141303"/>
                <a:gd name="connsiteX3" fmla="*/ 33867 w 140796"/>
                <a:gd name="connsiteY3" fmla="*/ 75970 h 141303"/>
                <a:gd name="connsiteX4" fmla="*/ 33867 w 140796"/>
                <a:gd name="connsiteY4" fmla="*/ 74693 h 141303"/>
                <a:gd name="connsiteX5" fmla="*/ 33228 w 140796"/>
                <a:gd name="connsiteY5" fmla="*/ 73416 h 141303"/>
                <a:gd name="connsiteX6" fmla="*/ 67733 w 140796"/>
                <a:gd name="connsiteY6" fmla="*/ 15322 h 141303"/>
                <a:gd name="connsiteX7" fmla="*/ 83069 w 140796"/>
                <a:gd name="connsiteY7" fmla="*/ 14045 h 141303"/>
                <a:gd name="connsiteX8" fmla="*/ 90737 w 140796"/>
                <a:gd name="connsiteY8" fmla="*/ 19791 h 141303"/>
                <a:gd name="connsiteX9" fmla="*/ 88820 w 140796"/>
                <a:gd name="connsiteY9" fmla="*/ 29367 h 141303"/>
                <a:gd name="connsiteX10" fmla="*/ 70289 w 140796"/>
                <a:gd name="connsiteY10" fmla="*/ 47880 h 141303"/>
                <a:gd name="connsiteX11" fmla="*/ 74762 w 140796"/>
                <a:gd name="connsiteY11" fmla="*/ 67032 h 141303"/>
                <a:gd name="connsiteX12" fmla="*/ 93932 w 140796"/>
                <a:gd name="connsiteY12" fmla="*/ 71501 h 141303"/>
                <a:gd name="connsiteX13" fmla="*/ 112463 w 140796"/>
                <a:gd name="connsiteY13" fmla="*/ 52987 h 141303"/>
                <a:gd name="connsiteX14" fmla="*/ 122048 w 140796"/>
                <a:gd name="connsiteY14" fmla="*/ 51072 h 141303"/>
                <a:gd name="connsiteX15" fmla="*/ 127799 w 140796"/>
                <a:gd name="connsiteY15" fmla="*/ 58733 h 141303"/>
                <a:gd name="connsiteX16" fmla="*/ 83708 w 140796"/>
                <a:gd name="connsiteY16" fmla="*/ 109805 h 141303"/>
                <a:gd name="connsiteX17" fmla="*/ 68372 w 140796"/>
                <a:gd name="connsiteY17" fmla="*/ 108528 h 141303"/>
                <a:gd name="connsiteX18" fmla="*/ 67733 w 140796"/>
                <a:gd name="connsiteY18" fmla="*/ 108528 h 141303"/>
                <a:gd name="connsiteX19" fmla="*/ 65816 w 140796"/>
                <a:gd name="connsiteY19" fmla="*/ 107889 h 141303"/>
                <a:gd name="connsiteX20" fmla="*/ 39617 w 140796"/>
                <a:gd name="connsiteY20" fmla="*/ 134064 h 141303"/>
                <a:gd name="connsiteX21" fmla="*/ 133550 w 140796"/>
                <a:gd name="connsiteY21" fmla="*/ 102144 h 141303"/>
                <a:gd name="connsiteX22" fmla="*/ 101600 w 140796"/>
                <a:gd name="connsiteY22" fmla="*/ 8299 h 141303"/>
                <a:gd name="connsiteX23" fmla="*/ 70289 w 140796"/>
                <a:gd name="connsiteY23" fmla="*/ 0 h 141303"/>
                <a:gd name="connsiteX24" fmla="*/ 70289 w 140796"/>
                <a:gd name="connsiteY24" fmla="*/ 0 h 14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0796" h="141303">
                  <a:moveTo>
                    <a:pt x="70289" y="0"/>
                  </a:moveTo>
                  <a:cubicBezTo>
                    <a:pt x="31311" y="0"/>
                    <a:pt x="0" y="31282"/>
                    <a:pt x="0" y="70224"/>
                  </a:cubicBezTo>
                  <a:cubicBezTo>
                    <a:pt x="0" y="81077"/>
                    <a:pt x="2556" y="92568"/>
                    <a:pt x="7668" y="102144"/>
                  </a:cubicBezTo>
                  <a:lnTo>
                    <a:pt x="33867" y="75970"/>
                  </a:lnTo>
                  <a:cubicBezTo>
                    <a:pt x="33867" y="75331"/>
                    <a:pt x="33867" y="75331"/>
                    <a:pt x="33867" y="74693"/>
                  </a:cubicBezTo>
                  <a:cubicBezTo>
                    <a:pt x="33867" y="74054"/>
                    <a:pt x="33228" y="74054"/>
                    <a:pt x="33228" y="73416"/>
                  </a:cubicBezTo>
                  <a:cubicBezTo>
                    <a:pt x="26838" y="47880"/>
                    <a:pt x="42173" y="21706"/>
                    <a:pt x="67733" y="15322"/>
                  </a:cubicBezTo>
                  <a:cubicBezTo>
                    <a:pt x="72845" y="14045"/>
                    <a:pt x="77957" y="13407"/>
                    <a:pt x="83069" y="14045"/>
                  </a:cubicBezTo>
                  <a:cubicBezTo>
                    <a:pt x="86264" y="14045"/>
                    <a:pt x="89459" y="16599"/>
                    <a:pt x="90737" y="19791"/>
                  </a:cubicBezTo>
                  <a:cubicBezTo>
                    <a:pt x="92015" y="22983"/>
                    <a:pt x="91376" y="26813"/>
                    <a:pt x="88820" y="29367"/>
                  </a:cubicBezTo>
                  <a:lnTo>
                    <a:pt x="70289" y="47880"/>
                  </a:lnTo>
                  <a:lnTo>
                    <a:pt x="74762" y="67032"/>
                  </a:lnTo>
                  <a:lnTo>
                    <a:pt x="93932" y="71501"/>
                  </a:lnTo>
                  <a:lnTo>
                    <a:pt x="112463" y="52987"/>
                  </a:lnTo>
                  <a:cubicBezTo>
                    <a:pt x="115019" y="50434"/>
                    <a:pt x="118214" y="49795"/>
                    <a:pt x="122048" y="51072"/>
                  </a:cubicBezTo>
                  <a:cubicBezTo>
                    <a:pt x="125243" y="52349"/>
                    <a:pt x="127799" y="55541"/>
                    <a:pt x="127799" y="58733"/>
                  </a:cubicBezTo>
                  <a:cubicBezTo>
                    <a:pt x="129716" y="84907"/>
                    <a:pt x="109907" y="107889"/>
                    <a:pt x="83708" y="109805"/>
                  </a:cubicBezTo>
                  <a:cubicBezTo>
                    <a:pt x="78596" y="110443"/>
                    <a:pt x="73484" y="109805"/>
                    <a:pt x="68372" y="108528"/>
                  </a:cubicBezTo>
                  <a:lnTo>
                    <a:pt x="67733" y="108528"/>
                  </a:lnTo>
                  <a:lnTo>
                    <a:pt x="65816" y="107889"/>
                  </a:lnTo>
                  <a:lnTo>
                    <a:pt x="39617" y="134064"/>
                  </a:lnTo>
                  <a:cubicBezTo>
                    <a:pt x="74762" y="151300"/>
                    <a:pt x="116297" y="136617"/>
                    <a:pt x="133550" y="102144"/>
                  </a:cubicBezTo>
                  <a:cubicBezTo>
                    <a:pt x="150802" y="67032"/>
                    <a:pt x="136106" y="25536"/>
                    <a:pt x="101600" y="8299"/>
                  </a:cubicBezTo>
                  <a:cubicBezTo>
                    <a:pt x="91376" y="2554"/>
                    <a:pt x="81152" y="0"/>
                    <a:pt x="70289" y="0"/>
                  </a:cubicBezTo>
                  <a:lnTo>
                    <a:pt x="70289" y="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5" name="Graphic 4">
              <a:extLst>
                <a:ext uri="{FF2B5EF4-FFF2-40B4-BE49-F238E27FC236}">
                  <a16:creationId xmlns:a16="http://schemas.microsoft.com/office/drawing/2014/main" id="{A392C143-CDF2-42FD-9DD5-361266367749}"/>
                </a:ext>
              </a:extLst>
            </p:cNvPr>
            <p:cNvSpPr/>
            <p:nvPr/>
          </p:nvSpPr>
          <p:spPr>
            <a:xfrm>
              <a:off x="5740023" y="4485145"/>
              <a:ext cx="201453" cy="201265"/>
            </a:xfrm>
            <a:custGeom>
              <a:avLst/>
              <a:gdLst>
                <a:gd name="connsiteX0" fmla="*/ 45369 w 99683"/>
                <a:gd name="connsiteY0" fmla="*/ 68309 h 99590"/>
                <a:gd name="connsiteX1" fmla="*/ 52398 w 99683"/>
                <a:gd name="connsiteY1" fmla="*/ 67032 h 99590"/>
                <a:gd name="connsiteX2" fmla="*/ 56870 w 99683"/>
                <a:gd name="connsiteY2" fmla="*/ 68309 h 99590"/>
                <a:gd name="connsiteX3" fmla="*/ 57509 w 99683"/>
                <a:gd name="connsiteY3" fmla="*/ 68309 h 99590"/>
                <a:gd name="connsiteX4" fmla="*/ 90098 w 99683"/>
                <a:gd name="connsiteY4" fmla="*/ 58733 h 99590"/>
                <a:gd name="connsiteX5" fmla="*/ 99683 w 99683"/>
                <a:gd name="connsiteY5" fmla="*/ 41496 h 99590"/>
                <a:gd name="connsiteX6" fmla="*/ 86264 w 99683"/>
                <a:gd name="connsiteY6" fmla="*/ 54902 h 99590"/>
                <a:gd name="connsiteX7" fmla="*/ 80513 w 99683"/>
                <a:gd name="connsiteY7" fmla="*/ 56818 h 99590"/>
                <a:gd name="connsiteX8" fmla="*/ 53675 w 99683"/>
                <a:gd name="connsiteY8" fmla="*/ 50434 h 99590"/>
                <a:gd name="connsiteX9" fmla="*/ 48564 w 99683"/>
                <a:gd name="connsiteY9" fmla="*/ 45327 h 99590"/>
                <a:gd name="connsiteX10" fmla="*/ 42174 w 99683"/>
                <a:gd name="connsiteY10" fmla="*/ 18514 h 99590"/>
                <a:gd name="connsiteX11" fmla="*/ 44091 w 99683"/>
                <a:gd name="connsiteY11" fmla="*/ 12768 h 99590"/>
                <a:gd name="connsiteX12" fmla="*/ 57509 w 99683"/>
                <a:gd name="connsiteY12" fmla="*/ 0 h 99590"/>
                <a:gd name="connsiteX13" fmla="*/ 30672 w 99683"/>
                <a:gd name="connsiteY13" fmla="*/ 42135 h 99590"/>
                <a:gd name="connsiteX14" fmla="*/ 31311 w 99683"/>
                <a:gd name="connsiteY14" fmla="*/ 43411 h 99590"/>
                <a:gd name="connsiteX15" fmla="*/ 32589 w 99683"/>
                <a:gd name="connsiteY15" fmla="*/ 47880 h 99590"/>
                <a:gd name="connsiteX16" fmla="*/ 31311 w 99683"/>
                <a:gd name="connsiteY16" fmla="*/ 54902 h 99590"/>
                <a:gd name="connsiteX17" fmla="*/ 0 w 99683"/>
                <a:gd name="connsiteY17" fmla="*/ 86184 h 99590"/>
                <a:gd name="connsiteX18" fmla="*/ 13419 w 99683"/>
                <a:gd name="connsiteY18" fmla="*/ 99590 h 99590"/>
                <a:gd name="connsiteX19" fmla="*/ 45369 w 99683"/>
                <a:gd name="connsiteY19" fmla="*/ 68309 h 9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9683" h="99590">
                  <a:moveTo>
                    <a:pt x="45369" y="68309"/>
                  </a:moveTo>
                  <a:cubicBezTo>
                    <a:pt x="47285" y="66394"/>
                    <a:pt x="49842" y="65755"/>
                    <a:pt x="52398" y="67032"/>
                  </a:cubicBezTo>
                  <a:cubicBezTo>
                    <a:pt x="53675" y="67670"/>
                    <a:pt x="55593" y="68309"/>
                    <a:pt x="56870" y="68309"/>
                  </a:cubicBezTo>
                  <a:lnTo>
                    <a:pt x="57509" y="68309"/>
                  </a:lnTo>
                  <a:cubicBezTo>
                    <a:pt x="69650" y="71501"/>
                    <a:pt x="81791" y="67670"/>
                    <a:pt x="90098" y="58733"/>
                  </a:cubicBezTo>
                  <a:cubicBezTo>
                    <a:pt x="94571" y="54264"/>
                    <a:pt x="98405" y="47880"/>
                    <a:pt x="99683" y="41496"/>
                  </a:cubicBezTo>
                  <a:lnTo>
                    <a:pt x="86264" y="54902"/>
                  </a:lnTo>
                  <a:cubicBezTo>
                    <a:pt x="84986" y="56179"/>
                    <a:pt x="82430" y="56818"/>
                    <a:pt x="80513" y="56818"/>
                  </a:cubicBezTo>
                  <a:lnTo>
                    <a:pt x="53675" y="50434"/>
                  </a:lnTo>
                  <a:cubicBezTo>
                    <a:pt x="51119" y="49795"/>
                    <a:pt x="49203" y="47880"/>
                    <a:pt x="48564" y="45327"/>
                  </a:cubicBezTo>
                  <a:lnTo>
                    <a:pt x="42174" y="18514"/>
                  </a:lnTo>
                  <a:cubicBezTo>
                    <a:pt x="41535" y="16599"/>
                    <a:pt x="42174" y="14045"/>
                    <a:pt x="44091" y="12768"/>
                  </a:cubicBezTo>
                  <a:lnTo>
                    <a:pt x="57509" y="0"/>
                  </a:lnTo>
                  <a:cubicBezTo>
                    <a:pt x="38340" y="4469"/>
                    <a:pt x="26838" y="22983"/>
                    <a:pt x="30672" y="42135"/>
                  </a:cubicBezTo>
                  <a:cubicBezTo>
                    <a:pt x="30672" y="42135"/>
                    <a:pt x="30672" y="42773"/>
                    <a:pt x="31311" y="43411"/>
                  </a:cubicBezTo>
                  <a:cubicBezTo>
                    <a:pt x="31950" y="44688"/>
                    <a:pt x="31950" y="46603"/>
                    <a:pt x="32589" y="47880"/>
                  </a:cubicBezTo>
                  <a:cubicBezTo>
                    <a:pt x="33867" y="50434"/>
                    <a:pt x="33228" y="52987"/>
                    <a:pt x="31311" y="54902"/>
                  </a:cubicBezTo>
                  <a:lnTo>
                    <a:pt x="0" y="86184"/>
                  </a:lnTo>
                  <a:cubicBezTo>
                    <a:pt x="3834" y="91291"/>
                    <a:pt x="8307" y="95760"/>
                    <a:pt x="13419" y="99590"/>
                  </a:cubicBezTo>
                  <a:lnTo>
                    <a:pt x="45369" y="6830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6" name="Graphic 4">
              <a:extLst>
                <a:ext uri="{FF2B5EF4-FFF2-40B4-BE49-F238E27FC236}">
                  <a16:creationId xmlns:a16="http://schemas.microsoft.com/office/drawing/2014/main" id="{281A2EA0-BB8E-45E5-B669-8EA107E80707}"/>
                </a:ext>
              </a:extLst>
            </p:cNvPr>
            <p:cNvSpPr/>
            <p:nvPr/>
          </p:nvSpPr>
          <p:spPr>
            <a:xfrm>
              <a:off x="5632841" y="4345808"/>
              <a:ext cx="450685" cy="456717"/>
            </a:xfrm>
            <a:custGeom>
              <a:avLst/>
              <a:gdLst>
                <a:gd name="connsiteX0" fmla="*/ 200644 w 223008"/>
                <a:gd name="connsiteY0" fmla="*/ 91930 h 225993"/>
                <a:gd name="connsiteX1" fmla="*/ 192976 w 223008"/>
                <a:gd name="connsiteY1" fmla="*/ 70224 h 225993"/>
                <a:gd name="connsiteX2" fmla="*/ 193615 w 223008"/>
                <a:gd name="connsiteY2" fmla="*/ 64478 h 225993"/>
                <a:gd name="connsiteX3" fmla="*/ 203200 w 223008"/>
                <a:gd name="connsiteY3" fmla="*/ 48518 h 225993"/>
                <a:gd name="connsiteX4" fmla="*/ 189142 w 223008"/>
                <a:gd name="connsiteY4" fmla="*/ 31920 h 225993"/>
                <a:gd name="connsiteX5" fmla="*/ 171889 w 223008"/>
                <a:gd name="connsiteY5" fmla="*/ 38942 h 225993"/>
                <a:gd name="connsiteX6" fmla="*/ 166138 w 223008"/>
                <a:gd name="connsiteY6" fmla="*/ 38304 h 225993"/>
                <a:gd name="connsiteX7" fmla="*/ 146330 w 223008"/>
                <a:gd name="connsiteY7" fmla="*/ 26813 h 225993"/>
                <a:gd name="connsiteX8" fmla="*/ 143135 w 223008"/>
                <a:gd name="connsiteY8" fmla="*/ 22344 h 225993"/>
                <a:gd name="connsiteX9" fmla="*/ 139940 w 223008"/>
                <a:gd name="connsiteY9" fmla="*/ 3830 h 225993"/>
                <a:gd name="connsiteX10" fmla="*/ 118214 w 223008"/>
                <a:gd name="connsiteY10" fmla="*/ 0 h 225993"/>
                <a:gd name="connsiteX11" fmla="*/ 109268 w 223008"/>
                <a:gd name="connsiteY11" fmla="*/ 16598 h 225993"/>
                <a:gd name="connsiteX12" fmla="*/ 104795 w 223008"/>
                <a:gd name="connsiteY12" fmla="*/ 19790 h 225993"/>
                <a:gd name="connsiteX13" fmla="*/ 81791 w 223008"/>
                <a:gd name="connsiteY13" fmla="*/ 23621 h 225993"/>
                <a:gd name="connsiteX14" fmla="*/ 76679 w 223008"/>
                <a:gd name="connsiteY14" fmla="*/ 22344 h 225993"/>
                <a:gd name="connsiteX15" fmla="*/ 62621 w 223008"/>
                <a:gd name="connsiteY15" fmla="*/ 10214 h 225993"/>
                <a:gd name="connsiteX16" fmla="*/ 43451 w 223008"/>
                <a:gd name="connsiteY16" fmla="*/ 21067 h 225993"/>
                <a:gd name="connsiteX17" fmla="*/ 47285 w 223008"/>
                <a:gd name="connsiteY17" fmla="*/ 39581 h 225993"/>
                <a:gd name="connsiteX18" fmla="*/ 46007 w 223008"/>
                <a:gd name="connsiteY18" fmla="*/ 44688 h 225993"/>
                <a:gd name="connsiteX19" fmla="*/ 31311 w 223008"/>
                <a:gd name="connsiteY19" fmla="*/ 62563 h 225993"/>
                <a:gd name="connsiteX20" fmla="*/ 26199 w 223008"/>
                <a:gd name="connsiteY20" fmla="*/ 65117 h 225993"/>
                <a:gd name="connsiteX21" fmla="*/ 7668 w 223008"/>
                <a:gd name="connsiteY21" fmla="*/ 64478 h 225993"/>
                <a:gd name="connsiteX22" fmla="*/ 0 w 223008"/>
                <a:gd name="connsiteY22" fmla="*/ 84907 h 225993"/>
                <a:gd name="connsiteX23" fmla="*/ 14697 w 223008"/>
                <a:gd name="connsiteY23" fmla="*/ 96398 h 225993"/>
                <a:gd name="connsiteX24" fmla="*/ 17253 w 223008"/>
                <a:gd name="connsiteY24" fmla="*/ 101505 h 225993"/>
                <a:gd name="connsiteX25" fmla="*/ 17253 w 223008"/>
                <a:gd name="connsiteY25" fmla="*/ 124488 h 225993"/>
                <a:gd name="connsiteX26" fmla="*/ 14697 w 223008"/>
                <a:gd name="connsiteY26" fmla="*/ 129595 h 225993"/>
                <a:gd name="connsiteX27" fmla="*/ 0 w 223008"/>
                <a:gd name="connsiteY27" fmla="*/ 141086 h 225993"/>
                <a:gd name="connsiteX28" fmla="*/ 7668 w 223008"/>
                <a:gd name="connsiteY28" fmla="*/ 161515 h 225993"/>
                <a:gd name="connsiteX29" fmla="*/ 26199 w 223008"/>
                <a:gd name="connsiteY29" fmla="*/ 160876 h 225993"/>
                <a:gd name="connsiteX30" fmla="*/ 31311 w 223008"/>
                <a:gd name="connsiteY30" fmla="*/ 163430 h 225993"/>
                <a:gd name="connsiteX31" fmla="*/ 46007 w 223008"/>
                <a:gd name="connsiteY31" fmla="*/ 181305 h 225993"/>
                <a:gd name="connsiteX32" fmla="*/ 47285 w 223008"/>
                <a:gd name="connsiteY32" fmla="*/ 186412 h 225993"/>
                <a:gd name="connsiteX33" fmla="*/ 43451 w 223008"/>
                <a:gd name="connsiteY33" fmla="*/ 204926 h 225993"/>
                <a:gd name="connsiteX34" fmla="*/ 62621 w 223008"/>
                <a:gd name="connsiteY34" fmla="*/ 215779 h 225993"/>
                <a:gd name="connsiteX35" fmla="*/ 76679 w 223008"/>
                <a:gd name="connsiteY35" fmla="*/ 203649 h 225993"/>
                <a:gd name="connsiteX36" fmla="*/ 81152 w 223008"/>
                <a:gd name="connsiteY36" fmla="*/ 202372 h 225993"/>
                <a:gd name="connsiteX37" fmla="*/ 82430 w 223008"/>
                <a:gd name="connsiteY37" fmla="*/ 202372 h 225993"/>
                <a:gd name="connsiteX38" fmla="*/ 105434 w 223008"/>
                <a:gd name="connsiteY38" fmla="*/ 206203 h 225993"/>
                <a:gd name="connsiteX39" fmla="*/ 109907 w 223008"/>
                <a:gd name="connsiteY39" fmla="*/ 209395 h 225993"/>
                <a:gd name="connsiteX40" fmla="*/ 118853 w 223008"/>
                <a:gd name="connsiteY40" fmla="*/ 225993 h 225993"/>
                <a:gd name="connsiteX41" fmla="*/ 140579 w 223008"/>
                <a:gd name="connsiteY41" fmla="*/ 222163 h 225993"/>
                <a:gd name="connsiteX42" fmla="*/ 143774 w 223008"/>
                <a:gd name="connsiteY42" fmla="*/ 203649 h 225993"/>
                <a:gd name="connsiteX43" fmla="*/ 146969 w 223008"/>
                <a:gd name="connsiteY43" fmla="*/ 199180 h 225993"/>
                <a:gd name="connsiteX44" fmla="*/ 166777 w 223008"/>
                <a:gd name="connsiteY44" fmla="*/ 187689 h 225993"/>
                <a:gd name="connsiteX45" fmla="*/ 172528 w 223008"/>
                <a:gd name="connsiteY45" fmla="*/ 187051 h 225993"/>
                <a:gd name="connsiteX46" fmla="*/ 189781 w 223008"/>
                <a:gd name="connsiteY46" fmla="*/ 194073 h 225993"/>
                <a:gd name="connsiteX47" fmla="*/ 203839 w 223008"/>
                <a:gd name="connsiteY47" fmla="*/ 177475 h 225993"/>
                <a:gd name="connsiteX48" fmla="*/ 194254 w 223008"/>
                <a:gd name="connsiteY48" fmla="*/ 161515 h 225993"/>
                <a:gd name="connsiteX49" fmla="*/ 193615 w 223008"/>
                <a:gd name="connsiteY49" fmla="*/ 155769 h 225993"/>
                <a:gd name="connsiteX50" fmla="*/ 201283 w 223008"/>
                <a:gd name="connsiteY50" fmla="*/ 134064 h 225993"/>
                <a:gd name="connsiteX51" fmla="*/ 205117 w 223008"/>
                <a:gd name="connsiteY51" fmla="*/ 130233 h 225993"/>
                <a:gd name="connsiteX52" fmla="*/ 223009 w 223008"/>
                <a:gd name="connsiteY52" fmla="*/ 124488 h 225993"/>
                <a:gd name="connsiteX53" fmla="*/ 223009 w 223008"/>
                <a:gd name="connsiteY53" fmla="*/ 102782 h 225993"/>
                <a:gd name="connsiteX54" fmla="*/ 205117 w 223008"/>
                <a:gd name="connsiteY54" fmla="*/ 96398 h 225993"/>
                <a:gd name="connsiteX55" fmla="*/ 200644 w 223008"/>
                <a:gd name="connsiteY55" fmla="*/ 91930 h 225993"/>
                <a:gd name="connsiteX56" fmla="*/ 109907 w 223008"/>
                <a:gd name="connsiteY56" fmla="*/ 195350 h 225993"/>
                <a:gd name="connsiteX57" fmla="*/ 26838 w 223008"/>
                <a:gd name="connsiteY57" fmla="*/ 112358 h 225993"/>
                <a:gd name="connsiteX58" fmla="*/ 109907 w 223008"/>
                <a:gd name="connsiteY58" fmla="*/ 29366 h 225993"/>
                <a:gd name="connsiteX59" fmla="*/ 192976 w 223008"/>
                <a:gd name="connsiteY59" fmla="*/ 112358 h 225993"/>
                <a:gd name="connsiteX60" fmla="*/ 192976 w 223008"/>
                <a:gd name="connsiteY60" fmla="*/ 112358 h 225993"/>
                <a:gd name="connsiteX61" fmla="*/ 109907 w 223008"/>
                <a:gd name="connsiteY61" fmla="*/ 195350 h 225993"/>
                <a:gd name="connsiteX62" fmla="*/ 109907 w 223008"/>
                <a:gd name="connsiteY62" fmla="*/ 195350 h 225993"/>
                <a:gd name="connsiteX63" fmla="*/ 109907 w 223008"/>
                <a:gd name="connsiteY63" fmla="*/ 195350 h 225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23008" h="225993">
                  <a:moveTo>
                    <a:pt x="200644" y="91930"/>
                  </a:moveTo>
                  <a:lnTo>
                    <a:pt x="192976" y="70224"/>
                  </a:lnTo>
                  <a:cubicBezTo>
                    <a:pt x="192337" y="68309"/>
                    <a:pt x="192337" y="66394"/>
                    <a:pt x="193615" y="64478"/>
                  </a:cubicBezTo>
                  <a:lnTo>
                    <a:pt x="203200" y="48518"/>
                  </a:lnTo>
                  <a:lnTo>
                    <a:pt x="189142" y="31920"/>
                  </a:lnTo>
                  <a:lnTo>
                    <a:pt x="171889" y="38942"/>
                  </a:lnTo>
                  <a:cubicBezTo>
                    <a:pt x="169972" y="39581"/>
                    <a:pt x="168055" y="39581"/>
                    <a:pt x="166138" y="38304"/>
                  </a:cubicBezTo>
                  <a:lnTo>
                    <a:pt x="146330" y="26813"/>
                  </a:lnTo>
                  <a:cubicBezTo>
                    <a:pt x="144413" y="25536"/>
                    <a:pt x="143774" y="24259"/>
                    <a:pt x="143135" y="22344"/>
                  </a:cubicBezTo>
                  <a:lnTo>
                    <a:pt x="139940" y="3830"/>
                  </a:lnTo>
                  <a:lnTo>
                    <a:pt x="118214" y="0"/>
                  </a:lnTo>
                  <a:lnTo>
                    <a:pt x="109268" y="16598"/>
                  </a:lnTo>
                  <a:cubicBezTo>
                    <a:pt x="108629" y="18514"/>
                    <a:pt x="106712" y="19790"/>
                    <a:pt x="104795" y="19790"/>
                  </a:cubicBezTo>
                  <a:lnTo>
                    <a:pt x="81791" y="23621"/>
                  </a:lnTo>
                  <a:cubicBezTo>
                    <a:pt x="79874" y="24259"/>
                    <a:pt x="77957" y="23621"/>
                    <a:pt x="76679" y="22344"/>
                  </a:cubicBezTo>
                  <a:lnTo>
                    <a:pt x="62621" y="10214"/>
                  </a:lnTo>
                  <a:lnTo>
                    <a:pt x="43451" y="21067"/>
                  </a:lnTo>
                  <a:lnTo>
                    <a:pt x="47285" y="39581"/>
                  </a:lnTo>
                  <a:cubicBezTo>
                    <a:pt x="47925" y="41496"/>
                    <a:pt x="47285" y="43411"/>
                    <a:pt x="46007" y="44688"/>
                  </a:cubicBezTo>
                  <a:lnTo>
                    <a:pt x="31311" y="62563"/>
                  </a:lnTo>
                  <a:cubicBezTo>
                    <a:pt x="30033" y="63840"/>
                    <a:pt x="28116" y="65117"/>
                    <a:pt x="26199" y="65117"/>
                  </a:cubicBezTo>
                  <a:lnTo>
                    <a:pt x="7668" y="64478"/>
                  </a:lnTo>
                  <a:lnTo>
                    <a:pt x="0" y="84907"/>
                  </a:lnTo>
                  <a:lnTo>
                    <a:pt x="14697" y="96398"/>
                  </a:lnTo>
                  <a:cubicBezTo>
                    <a:pt x="15975" y="97675"/>
                    <a:pt x="17253" y="99590"/>
                    <a:pt x="17253" y="101505"/>
                  </a:cubicBezTo>
                  <a:lnTo>
                    <a:pt x="17253" y="124488"/>
                  </a:lnTo>
                  <a:cubicBezTo>
                    <a:pt x="17253" y="126403"/>
                    <a:pt x="16614" y="128318"/>
                    <a:pt x="14697" y="129595"/>
                  </a:cubicBezTo>
                  <a:lnTo>
                    <a:pt x="0" y="141086"/>
                  </a:lnTo>
                  <a:lnTo>
                    <a:pt x="7668" y="161515"/>
                  </a:lnTo>
                  <a:lnTo>
                    <a:pt x="26199" y="160876"/>
                  </a:lnTo>
                  <a:cubicBezTo>
                    <a:pt x="28116" y="160876"/>
                    <a:pt x="30033" y="161515"/>
                    <a:pt x="31311" y="163430"/>
                  </a:cubicBezTo>
                  <a:lnTo>
                    <a:pt x="46007" y="181305"/>
                  </a:lnTo>
                  <a:cubicBezTo>
                    <a:pt x="47285" y="182582"/>
                    <a:pt x="47925" y="184497"/>
                    <a:pt x="47285" y="186412"/>
                  </a:cubicBezTo>
                  <a:lnTo>
                    <a:pt x="43451" y="204926"/>
                  </a:lnTo>
                  <a:lnTo>
                    <a:pt x="62621" y="215779"/>
                  </a:lnTo>
                  <a:lnTo>
                    <a:pt x="76679" y="203649"/>
                  </a:lnTo>
                  <a:cubicBezTo>
                    <a:pt x="77957" y="202372"/>
                    <a:pt x="79235" y="202372"/>
                    <a:pt x="81152" y="202372"/>
                  </a:cubicBezTo>
                  <a:lnTo>
                    <a:pt x="82430" y="202372"/>
                  </a:lnTo>
                  <a:lnTo>
                    <a:pt x="105434" y="206203"/>
                  </a:lnTo>
                  <a:cubicBezTo>
                    <a:pt x="107351" y="206203"/>
                    <a:pt x="109268" y="207479"/>
                    <a:pt x="109907" y="209395"/>
                  </a:cubicBezTo>
                  <a:lnTo>
                    <a:pt x="118853" y="225993"/>
                  </a:lnTo>
                  <a:lnTo>
                    <a:pt x="140579" y="222163"/>
                  </a:lnTo>
                  <a:lnTo>
                    <a:pt x="143774" y="203649"/>
                  </a:lnTo>
                  <a:cubicBezTo>
                    <a:pt x="143774" y="201734"/>
                    <a:pt x="145051" y="199819"/>
                    <a:pt x="146969" y="199180"/>
                  </a:cubicBezTo>
                  <a:lnTo>
                    <a:pt x="166777" y="187689"/>
                  </a:lnTo>
                  <a:cubicBezTo>
                    <a:pt x="168694" y="187051"/>
                    <a:pt x="170611" y="186412"/>
                    <a:pt x="172528" y="187051"/>
                  </a:cubicBezTo>
                  <a:lnTo>
                    <a:pt x="189781" y="194073"/>
                  </a:lnTo>
                  <a:lnTo>
                    <a:pt x="203839" y="177475"/>
                  </a:lnTo>
                  <a:lnTo>
                    <a:pt x="194254" y="161515"/>
                  </a:lnTo>
                  <a:cubicBezTo>
                    <a:pt x="192976" y="159600"/>
                    <a:pt x="192976" y="157684"/>
                    <a:pt x="193615" y="155769"/>
                  </a:cubicBezTo>
                  <a:lnTo>
                    <a:pt x="201283" y="134064"/>
                  </a:lnTo>
                  <a:cubicBezTo>
                    <a:pt x="201922" y="132149"/>
                    <a:pt x="203200" y="130872"/>
                    <a:pt x="205117" y="130233"/>
                  </a:cubicBezTo>
                  <a:lnTo>
                    <a:pt x="223009" y="124488"/>
                  </a:lnTo>
                  <a:lnTo>
                    <a:pt x="223009" y="102782"/>
                  </a:lnTo>
                  <a:lnTo>
                    <a:pt x="205117" y="96398"/>
                  </a:lnTo>
                  <a:cubicBezTo>
                    <a:pt x="202561" y="94483"/>
                    <a:pt x="201283" y="93206"/>
                    <a:pt x="200644" y="91930"/>
                  </a:cubicBezTo>
                  <a:close/>
                  <a:moveTo>
                    <a:pt x="109907" y="195350"/>
                  </a:moveTo>
                  <a:cubicBezTo>
                    <a:pt x="63899" y="195350"/>
                    <a:pt x="26838" y="158323"/>
                    <a:pt x="26838" y="112358"/>
                  </a:cubicBezTo>
                  <a:cubicBezTo>
                    <a:pt x="26838" y="66394"/>
                    <a:pt x="63899" y="29366"/>
                    <a:pt x="109907" y="29366"/>
                  </a:cubicBezTo>
                  <a:cubicBezTo>
                    <a:pt x="155914" y="29366"/>
                    <a:pt x="192976" y="66394"/>
                    <a:pt x="192976" y="112358"/>
                  </a:cubicBezTo>
                  <a:lnTo>
                    <a:pt x="192976" y="112358"/>
                  </a:lnTo>
                  <a:cubicBezTo>
                    <a:pt x="192976" y="158323"/>
                    <a:pt x="155914" y="195350"/>
                    <a:pt x="109907" y="195350"/>
                  </a:cubicBezTo>
                  <a:cubicBezTo>
                    <a:pt x="109907" y="195350"/>
                    <a:pt x="109268" y="195350"/>
                    <a:pt x="109907" y="195350"/>
                  </a:cubicBezTo>
                  <a:lnTo>
                    <a:pt x="109907" y="19535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97" name="Group 196">
            <a:extLst>
              <a:ext uri="{FF2B5EF4-FFF2-40B4-BE49-F238E27FC236}">
                <a16:creationId xmlns:a16="http://schemas.microsoft.com/office/drawing/2014/main" id="{CCAAAFE4-4A76-46EC-9374-F08E36941873}"/>
              </a:ext>
            </a:extLst>
          </p:cNvPr>
          <p:cNvGrpSpPr/>
          <p:nvPr/>
        </p:nvGrpSpPr>
        <p:grpSpPr>
          <a:xfrm>
            <a:off x="1908955" y="2064449"/>
            <a:ext cx="581378" cy="580827"/>
            <a:chOff x="5423856" y="2301599"/>
            <a:chExt cx="732214" cy="731520"/>
          </a:xfrm>
          <a:solidFill>
            <a:schemeClr val="accent4"/>
          </a:solidFill>
        </p:grpSpPr>
        <p:sp>
          <p:nvSpPr>
            <p:cNvPr id="198" name="Graphic 4">
              <a:extLst>
                <a:ext uri="{FF2B5EF4-FFF2-40B4-BE49-F238E27FC236}">
                  <a16:creationId xmlns:a16="http://schemas.microsoft.com/office/drawing/2014/main" id="{2367DCE3-5A65-4C53-B305-334931CA74F7}"/>
                </a:ext>
              </a:extLst>
            </p:cNvPr>
            <p:cNvSpPr/>
            <p:nvPr/>
          </p:nvSpPr>
          <p:spPr>
            <a:xfrm>
              <a:off x="5660177" y="2440936"/>
              <a:ext cx="254990" cy="319959"/>
            </a:xfrm>
            <a:custGeom>
              <a:avLst/>
              <a:gdLst>
                <a:gd name="connsiteX0" fmla="*/ 50481 w 126174"/>
                <a:gd name="connsiteY0" fmla="*/ 53626 h 158322"/>
                <a:gd name="connsiteX1" fmla="*/ 40896 w 126174"/>
                <a:gd name="connsiteY1" fmla="*/ 72139 h 158322"/>
                <a:gd name="connsiteX2" fmla="*/ 35145 w 126174"/>
                <a:gd name="connsiteY2" fmla="*/ 75969 h 158322"/>
                <a:gd name="connsiteX3" fmla="*/ 0 w 126174"/>
                <a:gd name="connsiteY3" fmla="*/ 105974 h 158322"/>
                <a:gd name="connsiteX4" fmla="*/ 32589 w 126174"/>
                <a:gd name="connsiteY4" fmla="*/ 121296 h 158322"/>
                <a:gd name="connsiteX5" fmla="*/ 36423 w 126174"/>
                <a:gd name="connsiteY5" fmla="*/ 128318 h 158322"/>
                <a:gd name="connsiteX6" fmla="*/ 46008 w 126174"/>
                <a:gd name="connsiteY6" fmla="*/ 151939 h 158322"/>
                <a:gd name="connsiteX7" fmla="*/ 68372 w 126174"/>
                <a:gd name="connsiteY7" fmla="*/ 144916 h 158322"/>
                <a:gd name="connsiteX8" fmla="*/ 73484 w 126174"/>
                <a:gd name="connsiteY8" fmla="*/ 142363 h 158322"/>
                <a:gd name="connsiteX9" fmla="*/ 76040 w 126174"/>
                <a:gd name="connsiteY9" fmla="*/ 143001 h 158322"/>
                <a:gd name="connsiteX10" fmla="*/ 108629 w 126174"/>
                <a:gd name="connsiteY10" fmla="*/ 158323 h 158322"/>
                <a:gd name="connsiteX11" fmla="*/ 111824 w 126174"/>
                <a:gd name="connsiteY11" fmla="*/ 110443 h 158322"/>
                <a:gd name="connsiteX12" fmla="*/ 111824 w 126174"/>
                <a:gd name="connsiteY12" fmla="*/ 104697 h 158322"/>
                <a:gd name="connsiteX13" fmla="*/ 118214 w 126174"/>
                <a:gd name="connsiteY13" fmla="*/ 0 h 158322"/>
                <a:gd name="connsiteX14" fmla="*/ 53676 w 126174"/>
                <a:gd name="connsiteY14" fmla="*/ 49795 h 158322"/>
                <a:gd name="connsiteX15" fmla="*/ 50481 w 126174"/>
                <a:gd name="connsiteY15" fmla="*/ 53626 h 158322"/>
                <a:gd name="connsiteX16" fmla="*/ 99683 w 126174"/>
                <a:gd name="connsiteY16" fmla="*/ 91929 h 158322"/>
                <a:gd name="connsiteX17" fmla="*/ 72206 w 126174"/>
                <a:gd name="connsiteY17" fmla="*/ 119381 h 158322"/>
                <a:gd name="connsiteX18" fmla="*/ 44730 w 126174"/>
                <a:gd name="connsiteY18" fmla="*/ 91929 h 158322"/>
                <a:gd name="connsiteX19" fmla="*/ 72206 w 126174"/>
                <a:gd name="connsiteY19" fmla="*/ 64478 h 158322"/>
                <a:gd name="connsiteX20" fmla="*/ 99683 w 126174"/>
                <a:gd name="connsiteY20" fmla="*/ 91929 h 158322"/>
                <a:gd name="connsiteX21" fmla="*/ 99683 w 126174"/>
                <a:gd name="connsiteY21" fmla="*/ 91929 h 158322"/>
                <a:gd name="connsiteX22" fmla="*/ 99683 w 126174"/>
                <a:gd name="connsiteY22" fmla="*/ 91929 h 15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174" h="158322">
                  <a:moveTo>
                    <a:pt x="50481" y="53626"/>
                  </a:moveTo>
                  <a:cubicBezTo>
                    <a:pt x="46647" y="59371"/>
                    <a:pt x="44091" y="65755"/>
                    <a:pt x="40896" y="72139"/>
                  </a:cubicBezTo>
                  <a:cubicBezTo>
                    <a:pt x="39618" y="74693"/>
                    <a:pt x="37701" y="75969"/>
                    <a:pt x="35145" y="75969"/>
                  </a:cubicBezTo>
                  <a:cubicBezTo>
                    <a:pt x="17892" y="76608"/>
                    <a:pt x="3195" y="88737"/>
                    <a:pt x="0" y="105974"/>
                  </a:cubicBezTo>
                  <a:lnTo>
                    <a:pt x="32589" y="121296"/>
                  </a:lnTo>
                  <a:cubicBezTo>
                    <a:pt x="35145" y="122573"/>
                    <a:pt x="36423" y="125126"/>
                    <a:pt x="36423" y="128318"/>
                  </a:cubicBezTo>
                  <a:cubicBezTo>
                    <a:pt x="36423" y="128318"/>
                    <a:pt x="33867" y="146832"/>
                    <a:pt x="46008" y="151939"/>
                  </a:cubicBezTo>
                  <a:cubicBezTo>
                    <a:pt x="58148" y="157046"/>
                    <a:pt x="68372" y="145555"/>
                    <a:pt x="68372" y="144916"/>
                  </a:cubicBezTo>
                  <a:cubicBezTo>
                    <a:pt x="69650" y="143640"/>
                    <a:pt x="71567" y="142363"/>
                    <a:pt x="73484" y="142363"/>
                  </a:cubicBezTo>
                  <a:cubicBezTo>
                    <a:pt x="74123" y="142363"/>
                    <a:pt x="75401" y="142363"/>
                    <a:pt x="76040" y="143001"/>
                  </a:cubicBezTo>
                  <a:lnTo>
                    <a:pt x="108629" y="158323"/>
                  </a:lnTo>
                  <a:cubicBezTo>
                    <a:pt x="117575" y="143640"/>
                    <a:pt x="118853" y="125765"/>
                    <a:pt x="111824" y="110443"/>
                  </a:cubicBezTo>
                  <a:cubicBezTo>
                    <a:pt x="111185" y="108528"/>
                    <a:pt x="111185" y="106613"/>
                    <a:pt x="111824" y="104697"/>
                  </a:cubicBezTo>
                  <a:cubicBezTo>
                    <a:pt x="111824" y="104059"/>
                    <a:pt x="139301" y="49795"/>
                    <a:pt x="118214" y="0"/>
                  </a:cubicBezTo>
                  <a:cubicBezTo>
                    <a:pt x="106712" y="2554"/>
                    <a:pt x="77318" y="12130"/>
                    <a:pt x="53676" y="49795"/>
                  </a:cubicBezTo>
                  <a:cubicBezTo>
                    <a:pt x="52398" y="51710"/>
                    <a:pt x="51759" y="52987"/>
                    <a:pt x="50481" y="53626"/>
                  </a:cubicBezTo>
                  <a:close/>
                  <a:moveTo>
                    <a:pt x="99683" y="91929"/>
                  </a:moveTo>
                  <a:cubicBezTo>
                    <a:pt x="99683" y="107251"/>
                    <a:pt x="87542" y="119381"/>
                    <a:pt x="72206" y="119381"/>
                  </a:cubicBezTo>
                  <a:cubicBezTo>
                    <a:pt x="56871" y="119381"/>
                    <a:pt x="44730" y="107251"/>
                    <a:pt x="44730" y="91929"/>
                  </a:cubicBezTo>
                  <a:cubicBezTo>
                    <a:pt x="44730" y="76608"/>
                    <a:pt x="56871" y="64478"/>
                    <a:pt x="72206" y="64478"/>
                  </a:cubicBezTo>
                  <a:cubicBezTo>
                    <a:pt x="87542" y="65117"/>
                    <a:pt x="99683" y="77246"/>
                    <a:pt x="99683" y="91929"/>
                  </a:cubicBezTo>
                  <a:cubicBezTo>
                    <a:pt x="99683" y="92568"/>
                    <a:pt x="99683" y="92568"/>
                    <a:pt x="99683" y="91929"/>
                  </a:cubicBezTo>
                  <a:lnTo>
                    <a:pt x="99683" y="9192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9" name="Graphic 4">
              <a:extLst>
                <a:ext uri="{FF2B5EF4-FFF2-40B4-BE49-F238E27FC236}">
                  <a16:creationId xmlns:a16="http://schemas.microsoft.com/office/drawing/2014/main" id="{D29925DC-CC99-4D27-AC2E-9B0C7109C990}"/>
                </a:ext>
              </a:extLst>
            </p:cNvPr>
            <p:cNvSpPr/>
            <p:nvPr/>
          </p:nvSpPr>
          <p:spPr>
            <a:xfrm>
              <a:off x="5608522" y="2553181"/>
              <a:ext cx="365457" cy="255450"/>
            </a:xfrm>
            <a:custGeom>
              <a:avLst/>
              <a:gdLst>
                <a:gd name="connsiteX0" fmla="*/ 180835 w 180835"/>
                <a:gd name="connsiteY0" fmla="*/ 5746 h 126402"/>
                <a:gd name="connsiteX1" fmla="*/ 175084 w 180835"/>
                <a:gd name="connsiteY1" fmla="*/ 0 h 126402"/>
                <a:gd name="connsiteX2" fmla="*/ 175084 w 180835"/>
                <a:gd name="connsiteY2" fmla="*/ 0 h 126402"/>
                <a:gd name="connsiteX3" fmla="*/ 163582 w 180835"/>
                <a:gd name="connsiteY3" fmla="*/ 0 h 126402"/>
                <a:gd name="connsiteX4" fmla="*/ 149525 w 180835"/>
                <a:gd name="connsiteY4" fmla="*/ 52987 h 126402"/>
                <a:gd name="connsiteX5" fmla="*/ 140579 w 180835"/>
                <a:gd name="connsiteY5" fmla="*/ 115550 h 126402"/>
                <a:gd name="connsiteX6" fmla="*/ 135467 w 180835"/>
                <a:gd name="connsiteY6" fmla="*/ 118104 h 126402"/>
                <a:gd name="connsiteX7" fmla="*/ 132911 w 180835"/>
                <a:gd name="connsiteY7" fmla="*/ 117465 h 126402"/>
                <a:gd name="connsiteX8" fmla="*/ 99044 w 180835"/>
                <a:gd name="connsiteY8" fmla="*/ 101505 h 126402"/>
                <a:gd name="connsiteX9" fmla="*/ 65177 w 180835"/>
                <a:gd name="connsiteY9" fmla="*/ 108528 h 126402"/>
                <a:gd name="connsiteX10" fmla="*/ 47925 w 180835"/>
                <a:gd name="connsiteY10" fmla="*/ 75969 h 126402"/>
                <a:gd name="connsiteX11" fmla="*/ 14697 w 180835"/>
                <a:gd name="connsiteY11" fmla="*/ 60009 h 126402"/>
                <a:gd name="connsiteX12" fmla="*/ 11502 w 180835"/>
                <a:gd name="connsiteY12" fmla="*/ 52987 h 126402"/>
                <a:gd name="connsiteX13" fmla="*/ 56232 w 180835"/>
                <a:gd name="connsiteY13" fmla="*/ 8299 h 126402"/>
                <a:gd name="connsiteX14" fmla="*/ 60066 w 180835"/>
                <a:gd name="connsiteY14" fmla="*/ 0 h 126402"/>
                <a:gd name="connsiteX15" fmla="*/ 5751 w 180835"/>
                <a:gd name="connsiteY15" fmla="*/ 0 h 126402"/>
                <a:gd name="connsiteX16" fmla="*/ 0 w 180835"/>
                <a:gd name="connsiteY16" fmla="*/ 5746 h 126402"/>
                <a:gd name="connsiteX17" fmla="*/ 0 w 180835"/>
                <a:gd name="connsiteY17" fmla="*/ 5746 h 126402"/>
                <a:gd name="connsiteX18" fmla="*/ 0 w 180835"/>
                <a:gd name="connsiteY18" fmla="*/ 126403 h 126402"/>
                <a:gd name="connsiteX19" fmla="*/ 180835 w 180835"/>
                <a:gd name="connsiteY19" fmla="*/ 126403 h 126402"/>
                <a:gd name="connsiteX20" fmla="*/ 180835 w 180835"/>
                <a:gd name="connsiteY20" fmla="*/ 5746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0835" h="126402">
                  <a:moveTo>
                    <a:pt x="180835" y="5746"/>
                  </a:moveTo>
                  <a:cubicBezTo>
                    <a:pt x="180835" y="2554"/>
                    <a:pt x="178279" y="0"/>
                    <a:pt x="175084" y="0"/>
                  </a:cubicBezTo>
                  <a:lnTo>
                    <a:pt x="175084" y="0"/>
                  </a:lnTo>
                  <a:lnTo>
                    <a:pt x="163582" y="0"/>
                  </a:lnTo>
                  <a:cubicBezTo>
                    <a:pt x="161666" y="18514"/>
                    <a:pt x="157192" y="36389"/>
                    <a:pt x="149525" y="52987"/>
                  </a:cubicBezTo>
                  <a:cubicBezTo>
                    <a:pt x="157832" y="74054"/>
                    <a:pt x="154637" y="97675"/>
                    <a:pt x="140579" y="115550"/>
                  </a:cubicBezTo>
                  <a:cubicBezTo>
                    <a:pt x="139301" y="116827"/>
                    <a:pt x="137384" y="118104"/>
                    <a:pt x="135467" y="118104"/>
                  </a:cubicBezTo>
                  <a:cubicBezTo>
                    <a:pt x="134828" y="118104"/>
                    <a:pt x="133550" y="118104"/>
                    <a:pt x="132911" y="117465"/>
                  </a:cubicBezTo>
                  <a:lnTo>
                    <a:pt x="99044" y="101505"/>
                  </a:lnTo>
                  <a:cubicBezTo>
                    <a:pt x="90098" y="110443"/>
                    <a:pt x="76679" y="112996"/>
                    <a:pt x="65177" y="108528"/>
                  </a:cubicBezTo>
                  <a:cubicBezTo>
                    <a:pt x="49203" y="100867"/>
                    <a:pt x="47286" y="84269"/>
                    <a:pt x="47925" y="75969"/>
                  </a:cubicBezTo>
                  <a:lnTo>
                    <a:pt x="14697" y="60009"/>
                  </a:lnTo>
                  <a:cubicBezTo>
                    <a:pt x="12141" y="58733"/>
                    <a:pt x="10863" y="56179"/>
                    <a:pt x="11502" y="52987"/>
                  </a:cubicBezTo>
                  <a:cubicBezTo>
                    <a:pt x="17892" y="20429"/>
                    <a:pt x="41535" y="9576"/>
                    <a:pt x="56232" y="8299"/>
                  </a:cubicBezTo>
                  <a:cubicBezTo>
                    <a:pt x="57509" y="5746"/>
                    <a:pt x="58788" y="2554"/>
                    <a:pt x="60066" y="0"/>
                  </a:cubicBezTo>
                  <a:lnTo>
                    <a:pt x="5751" y="0"/>
                  </a:lnTo>
                  <a:cubicBezTo>
                    <a:pt x="2556" y="0"/>
                    <a:pt x="0" y="2554"/>
                    <a:pt x="0" y="5746"/>
                  </a:cubicBezTo>
                  <a:lnTo>
                    <a:pt x="0" y="5746"/>
                  </a:lnTo>
                  <a:lnTo>
                    <a:pt x="0" y="126403"/>
                  </a:lnTo>
                  <a:lnTo>
                    <a:pt x="180835" y="126403"/>
                  </a:lnTo>
                  <a:lnTo>
                    <a:pt x="180835" y="574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0" name="Graphic 4">
              <a:extLst>
                <a:ext uri="{FF2B5EF4-FFF2-40B4-BE49-F238E27FC236}">
                  <a16:creationId xmlns:a16="http://schemas.microsoft.com/office/drawing/2014/main" id="{7DFDE48F-6F9C-447A-A4DC-3D383D0AD25F}"/>
                </a:ext>
              </a:extLst>
            </p:cNvPr>
            <p:cNvSpPr/>
            <p:nvPr/>
          </p:nvSpPr>
          <p:spPr>
            <a:xfrm>
              <a:off x="5776399" y="2598337"/>
              <a:ext cx="59402" cy="59347"/>
            </a:xfrm>
            <a:custGeom>
              <a:avLst/>
              <a:gdLst>
                <a:gd name="connsiteX0" fmla="*/ 14697 w 29393"/>
                <a:gd name="connsiteY0" fmla="*/ 29366 h 29366"/>
                <a:gd name="connsiteX1" fmla="*/ 29394 w 29393"/>
                <a:gd name="connsiteY1" fmla="*/ 14683 h 29366"/>
                <a:gd name="connsiteX2" fmla="*/ 14697 w 29393"/>
                <a:gd name="connsiteY2" fmla="*/ 0 h 29366"/>
                <a:gd name="connsiteX3" fmla="*/ 0 w 29393"/>
                <a:gd name="connsiteY3" fmla="*/ 14683 h 29366"/>
                <a:gd name="connsiteX4" fmla="*/ 14697 w 29393"/>
                <a:gd name="connsiteY4" fmla="*/ 29366 h 29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93" h="29366">
                  <a:moveTo>
                    <a:pt x="14697" y="29366"/>
                  </a:moveTo>
                  <a:cubicBezTo>
                    <a:pt x="23004" y="29366"/>
                    <a:pt x="29394" y="22982"/>
                    <a:pt x="29394" y="14683"/>
                  </a:cubicBezTo>
                  <a:cubicBezTo>
                    <a:pt x="29394" y="6384"/>
                    <a:pt x="23004" y="0"/>
                    <a:pt x="14697" y="0"/>
                  </a:cubicBezTo>
                  <a:cubicBezTo>
                    <a:pt x="6390" y="0"/>
                    <a:pt x="0" y="6384"/>
                    <a:pt x="0" y="14683"/>
                  </a:cubicBezTo>
                  <a:cubicBezTo>
                    <a:pt x="0" y="22982"/>
                    <a:pt x="6390" y="29366"/>
                    <a:pt x="14697" y="29366"/>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1" name="Graphic 4">
              <a:extLst>
                <a:ext uri="{FF2B5EF4-FFF2-40B4-BE49-F238E27FC236}">
                  <a16:creationId xmlns:a16="http://schemas.microsoft.com/office/drawing/2014/main" id="{20F08772-1370-4247-B2C4-901D28624D3D}"/>
                </a:ext>
              </a:extLst>
            </p:cNvPr>
            <p:cNvSpPr/>
            <p:nvPr/>
          </p:nvSpPr>
          <p:spPr>
            <a:xfrm>
              <a:off x="5587862" y="2834435"/>
              <a:ext cx="406782" cy="6449"/>
            </a:xfrm>
            <a:custGeom>
              <a:avLst/>
              <a:gdLst>
                <a:gd name="connsiteX0" fmla="*/ 3834 w 201283"/>
                <a:gd name="connsiteY0" fmla="*/ 0 h 3191"/>
                <a:gd name="connsiteX1" fmla="*/ 0 w 201283"/>
                <a:gd name="connsiteY1" fmla="*/ 0 h 3191"/>
                <a:gd name="connsiteX2" fmla="*/ 7029 w 201283"/>
                <a:gd name="connsiteY2" fmla="*/ 3192 h 3191"/>
                <a:gd name="connsiteX3" fmla="*/ 194254 w 201283"/>
                <a:gd name="connsiteY3" fmla="*/ 3192 h 3191"/>
                <a:gd name="connsiteX4" fmla="*/ 201283 w 201283"/>
                <a:gd name="connsiteY4" fmla="*/ 0 h 3191"/>
                <a:gd name="connsiteX5" fmla="*/ 3834 w 201283"/>
                <a:gd name="connsiteY5" fmla="*/ 0 h 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283" h="3191">
                  <a:moveTo>
                    <a:pt x="3834" y="0"/>
                  </a:moveTo>
                  <a:lnTo>
                    <a:pt x="0" y="0"/>
                  </a:lnTo>
                  <a:cubicBezTo>
                    <a:pt x="1917" y="1915"/>
                    <a:pt x="4473" y="3192"/>
                    <a:pt x="7029" y="3192"/>
                  </a:cubicBezTo>
                  <a:lnTo>
                    <a:pt x="194254" y="3192"/>
                  </a:lnTo>
                  <a:cubicBezTo>
                    <a:pt x="196810" y="3192"/>
                    <a:pt x="199366" y="1915"/>
                    <a:pt x="201283" y="0"/>
                  </a:cubicBezTo>
                  <a:lnTo>
                    <a:pt x="3834" y="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2" name="Graphic 4">
              <a:extLst>
                <a:ext uri="{FF2B5EF4-FFF2-40B4-BE49-F238E27FC236}">
                  <a16:creationId xmlns:a16="http://schemas.microsoft.com/office/drawing/2014/main" id="{A113C1F2-8782-4D97-8490-0A0F6EC9FD14}"/>
                </a:ext>
              </a:extLst>
            </p:cNvPr>
            <p:cNvSpPr/>
            <p:nvPr/>
          </p:nvSpPr>
          <p:spPr>
            <a:xfrm>
              <a:off x="5423856" y="2301599"/>
              <a:ext cx="732214" cy="731520"/>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75406 w 362313"/>
                <a:gd name="connsiteY6" fmla="*/ 279618 h 361971"/>
                <a:gd name="connsiteX7" fmla="*/ 88181 w 362313"/>
                <a:gd name="connsiteY7" fmla="*/ 279618 h 361971"/>
                <a:gd name="connsiteX8" fmla="*/ 65816 w 362313"/>
                <a:gd name="connsiteY8" fmla="*/ 257274 h 361971"/>
                <a:gd name="connsiteX9" fmla="*/ 72206 w 362313"/>
                <a:gd name="connsiteY9" fmla="*/ 250890 h 361971"/>
                <a:gd name="connsiteX10" fmla="*/ 78596 w 362313"/>
                <a:gd name="connsiteY10" fmla="*/ 250890 h 361971"/>
                <a:gd name="connsiteX11" fmla="*/ 78596 w 362313"/>
                <a:gd name="connsiteY11" fmla="*/ 130233 h 361971"/>
                <a:gd name="connsiteX12" fmla="*/ 97127 w 362313"/>
                <a:gd name="connsiteY12" fmla="*/ 111720 h 361971"/>
                <a:gd name="connsiteX13" fmla="*/ 97127 w 362313"/>
                <a:gd name="connsiteY13" fmla="*/ 111720 h 361971"/>
                <a:gd name="connsiteX14" fmla="*/ 159109 w 362313"/>
                <a:gd name="connsiteY14" fmla="*/ 111720 h 361971"/>
                <a:gd name="connsiteX15" fmla="*/ 237067 w 362313"/>
                <a:gd name="connsiteY15" fmla="*/ 56817 h 361971"/>
                <a:gd name="connsiteX16" fmla="*/ 243457 w 362313"/>
                <a:gd name="connsiteY16" fmla="*/ 60648 h 361971"/>
                <a:gd name="connsiteX17" fmla="*/ 254958 w 362313"/>
                <a:gd name="connsiteY17" fmla="*/ 112358 h 361971"/>
                <a:gd name="connsiteX18" fmla="*/ 265821 w 362313"/>
                <a:gd name="connsiteY18" fmla="*/ 112358 h 361971"/>
                <a:gd name="connsiteX19" fmla="*/ 284352 w 362313"/>
                <a:gd name="connsiteY19" fmla="*/ 130872 h 361971"/>
                <a:gd name="connsiteX20" fmla="*/ 284352 w 362313"/>
                <a:gd name="connsiteY20" fmla="*/ 130872 h 361971"/>
                <a:gd name="connsiteX21" fmla="*/ 284352 w 362313"/>
                <a:gd name="connsiteY21" fmla="*/ 251529 h 361971"/>
                <a:gd name="connsiteX22" fmla="*/ 290742 w 362313"/>
                <a:gd name="connsiteY22" fmla="*/ 251529 h 361971"/>
                <a:gd name="connsiteX23" fmla="*/ 297132 w 362313"/>
                <a:gd name="connsiteY23" fmla="*/ 257913 h 361971"/>
                <a:gd name="connsiteX24" fmla="*/ 275406 w 362313"/>
                <a:gd name="connsiteY24" fmla="*/ 279618 h 361971"/>
                <a:gd name="connsiteX25" fmla="*/ 275406 w 362313"/>
                <a:gd name="connsiteY25" fmla="*/ 27961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75406" y="279618"/>
                  </a:moveTo>
                  <a:lnTo>
                    <a:pt x="88181" y="279618"/>
                  </a:lnTo>
                  <a:cubicBezTo>
                    <a:pt x="76040" y="279618"/>
                    <a:pt x="65816" y="269404"/>
                    <a:pt x="65816" y="257274"/>
                  </a:cubicBezTo>
                  <a:cubicBezTo>
                    <a:pt x="65816" y="253444"/>
                    <a:pt x="68372" y="250890"/>
                    <a:pt x="72206" y="250890"/>
                  </a:cubicBezTo>
                  <a:lnTo>
                    <a:pt x="78596" y="250890"/>
                  </a:lnTo>
                  <a:lnTo>
                    <a:pt x="78596" y="130233"/>
                  </a:lnTo>
                  <a:cubicBezTo>
                    <a:pt x="78596" y="120019"/>
                    <a:pt x="86903" y="111720"/>
                    <a:pt x="97127" y="111720"/>
                  </a:cubicBezTo>
                  <a:lnTo>
                    <a:pt x="97127" y="111720"/>
                  </a:lnTo>
                  <a:lnTo>
                    <a:pt x="159109" y="111720"/>
                  </a:lnTo>
                  <a:cubicBezTo>
                    <a:pt x="191698" y="61286"/>
                    <a:pt x="235150" y="56817"/>
                    <a:pt x="237067" y="56817"/>
                  </a:cubicBezTo>
                  <a:cubicBezTo>
                    <a:pt x="239623" y="56817"/>
                    <a:pt x="242179" y="58094"/>
                    <a:pt x="243457" y="60648"/>
                  </a:cubicBezTo>
                  <a:cubicBezTo>
                    <a:pt x="251124" y="76608"/>
                    <a:pt x="254958" y="94483"/>
                    <a:pt x="254958" y="112358"/>
                  </a:cubicBezTo>
                  <a:lnTo>
                    <a:pt x="265821" y="112358"/>
                  </a:lnTo>
                  <a:cubicBezTo>
                    <a:pt x="276045" y="112358"/>
                    <a:pt x="284352" y="120657"/>
                    <a:pt x="284352" y="130872"/>
                  </a:cubicBezTo>
                  <a:lnTo>
                    <a:pt x="284352" y="130872"/>
                  </a:lnTo>
                  <a:lnTo>
                    <a:pt x="284352" y="251529"/>
                  </a:lnTo>
                  <a:lnTo>
                    <a:pt x="290742" y="251529"/>
                  </a:lnTo>
                  <a:cubicBezTo>
                    <a:pt x="294576" y="251529"/>
                    <a:pt x="297132" y="254082"/>
                    <a:pt x="297132" y="257913"/>
                  </a:cubicBezTo>
                  <a:cubicBezTo>
                    <a:pt x="297771" y="269404"/>
                    <a:pt x="287547" y="278980"/>
                    <a:pt x="275406" y="279618"/>
                  </a:cubicBezTo>
                  <a:lnTo>
                    <a:pt x="275406" y="27961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03" name="Group 202">
            <a:extLst>
              <a:ext uri="{FF2B5EF4-FFF2-40B4-BE49-F238E27FC236}">
                <a16:creationId xmlns:a16="http://schemas.microsoft.com/office/drawing/2014/main" id="{BF4F4A34-4823-4E40-9EB5-FBFAF8549DFA}"/>
              </a:ext>
            </a:extLst>
          </p:cNvPr>
          <p:cNvGrpSpPr/>
          <p:nvPr/>
        </p:nvGrpSpPr>
        <p:grpSpPr>
          <a:xfrm>
            <a:off x="9477874" y="2064449"/>
            <a:ext cx="581372" cy="580827"/>
            <a:chOff x="9862039" y="2301599"/>
            <a:chExt cx="732206" cy="731520"/>
          </a:xfrm>
          <a:solidFill>
            <a:schemeClr val="accent4"/>
          </a:solidFill>
        </p:grpSpPr>
        <p:sp>
          <p:nvSpPr>
            <p:cNvPr id="204" name="Graphic 4">
              <a:extLst>
                <a:ext uri="{FF2B5EF4-FFF2-40B4-BE49-F238E27FC236}">
                  <a16:creationId xmlns:a16="http://schemas.microsoft.com/office/drawing/2014/main" id="{DA4AAFFB-4172-4D8F-97D0-8069E57AF2C1}"/>
                </a:ext>
              </a:extLst>
            </p:cNvPr>
            <p:cNvSpPr/>
            <p:nvPr/>
          </p:nvSpPr>
          <p:spPr>
            <a:xfrm>
              <a:off x="10330805" y="2638329"/>
              <a:ext cx="83938" cy="99341"/>
            </a:xfrm>
            <a:custGeom>
              <a:avLst/>
              <a:gdLst>
                <a:gd name="connsiteX0" fmla="*/ 37701 w 41534"/>
                <a:gd name="connsiteY0" fmla="*/ 0 h 49156"/>
                <a:gd name="connsiteX1" fmla="*/ 0 w 41534"/>
                <a:gd name="connsiteY1" fmla="*/ 0 h 49156"/>
                <a:gd name="connsiteX2" fmla="*/ 0 w 41534"/>
                <a:gd name="connsiteY2" fmla="*/ 49157 h 49156"/>
                <a:gd name="connsiteX3" fmla="*/ 37701 w 41534"/>
                <a:gd name="connsiteY3" fmla="*/ 49157 h 49156"/>
                <a:gd name="connsiteX4" fmla="*/ 37701 w 41534"/>
                <a:gd name="connsiteY4" fmla="*/ 0 h 49156"/>
                <a:gd name="connsiteX5" fmla="*/ 37701 w 41534"/>
                <a:gd name="connsiteY5" fmla="*/ 0 h 49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 h="49156">
                  <a:moveTo>
                    <a:pt x="37701" y="0"/>
                  </a:moveTo>
                  <a:lnTo>
                    <a:pt x="0" y="0"/>
                  </a:lnTo>
                  <a:cubicBezTo>
                    <a:pt x="1917" y="16598"/>
                    <a:pt x="1917" y="32558"/>
                    <a:pt x="0" y="49157"/>
                  </a:cubicBezTo>
                  <a:lnTo>
                    <a:pt x="37701" y="49157"/>
                  </a:lnTo>
                  <a:cubicBezTo>
                    <a:pt x="42813" y="33197"/>
                    <a:pt x="42813" y="15960"/>
                    <a:pt x="37701" y="0"/>
                  </a:cubicBezTo>
                  <a:lnTo>
                    <a:pt x="37701" y="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5" name="Graphic 4">
              <a:extLst>
                <a:ext uri="{FF2B5EF4-FFF2-40B4-BE49-F238E27FC236}">
                  <a16:creationId xmlns:a16="http://schemas.microsoft.com/office/drawing/2014/main" id="{10FEF1A4-69F8-405D-BB9D-AE4A16447A9D}"/>
                </a:ext>
              </a:extLst>
            </p:cNvPr>
            <p:cNvSpPr/>
            <p:nvPr/>
          </p:nvSpPr>
          <p:spPr>
            <a:xfrm>
              <a:off x="10301103" y="2535118"/>
              <a:ext cx="95560" cy="77408"/>
            </a:xfrm>
            <a:custGeom>
              <a:avLst/>
              <a:gdLst>
                <a:gd name="connsiteX0" fmla="*/ 12780 w 47285"/>
                <a:gd name="connsiteY0" fmla="*/ 38304 h 38303"/>
                <a:gd name="connsiteX1" fmla="*/ 47286 w 47285"/>
                <a:gd name="connsiteY1" fmla="*/ 38304 h 38303"/>
                <a:gd name="connsiteX2" fmla="*/ 0 w 47285"/>
                <a:gd name="connsiteY2" fmla="*/ 0 h 38303"/>
                <a:gd name="connsiteX3" fmla="*/ 12780 w 47285"/>
                <a:gd name="connsiteY3" fmla="*/ 38304 h 38303"/>
              </a:gdLst>
              <a:ahLst/>
              <a:cxnLst>
                <a:cxn ang="0">
                  <a:pos x="connsiteX0" y="connsiteY0"/>
                </a:cxn>
                <a:cxn ang="0">
                  <a:pos x="connsiteX1" y="connsiteY1"/>
                </a:cxn>
                <a:cxn ang="0">
                  <a:pos x="connsiteX2" y="connsiteY2"/>
                </a:cxn>
                <a:cxn ang="0">
                  <a:pos x="connsiteX3" y="connsiteY3"/>
                </a:cxn>
              </a:cxnLst>
              <a:rect l="l" t="t" r="r" b="b"/>
              <a:pathLst>
                <a:path w="47285" h="38303">
                  <a:moveTo>
                    <a:pt x="12780" y="38304"/>
                  </a:moveTo>
                  <a:lnTo>
                    <a:pt x="47286" y="38304"/>
                  </a:lnTo>
                  <a:cubicBezTo>
                    <a:pt x="37062" y="19790"/>
                    <a:pt x="20448" y="5746"/>
                    <a:pt x="0" y="0"/>
                  </a:cubicBezTo>
                  <a:cubicBezTo>
                    <a:pt x="6390" y="12130"/>
                    <a:pt x="10863" y="24898"/>
                    <a:pt x="12780" y="383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6" name="Graphic 4">
              <a:extLst>
                <a:ext uri="{FF2B5EF4-FFF2-40B4-BE49-F238E27FC236}">
                  <a16:creationId xmlns:a16="http://schemas.microsoft.com/office/drawing/2014/main" id="{E16EB845-1367-4BC1-AA4C-5D07A7A9E3DA}"/>
                </a:ext>
              </a:extLst>
            </p:cNvPr>
            <p:cNvSpPr/>
            <p:nvPr/>
          </p:nvSpPr>
          <p:spPr>
            <a:xfrm>
              <a:off x="10210708" y="2528667"/>
              <a:ext cx="90395" cy="83859"/>
            </a:xfrm>
            <a:custGeom>
              <a:avLst/>
              <a:gdLst>
                <a:gd name="connsiteX0" fmla="*/ 22365 w 44729"/>
                <a:gd name="connsiteY0" fmla="*/ 0 h 41495"/>
                <a:gd name="connsiteX1" fmla="*/ 0 w 44729"/>
                <a:gd name="connsiteY1" fmla="*/ 41496 h 41495"/>
                <a:gd name="connsiteX2" fmla="*/ 44730 w 44729"/>
                <a:gd name="connsiteY2" fmla="*/ 41496 h 41495"/>
                <a:gd name="connsiteX3" fmla="*/ 22365 w 44729"/>
                <a:gd name="connsiteY3" fmla="*/ 0 h 41495"/>
              </a:gdLst>
              <a:ahLst/>
              <a:cxnLst>
                <a:cxn ang="0">
                  <a:pos x="connsiteX0" y="connsiteY0"/>
                </a:cxn>
                <a:cxn ang="0">
                  <a:pos x="connsiteX1" y="connsiteY1"/>
                </a:cxn>
                <a:cxn ang="0">
                  <a:pos x="connsiteX2" y="connsiteY2"/>
                </a:cxn>
                <a:cxn ang="0">
                  <a:pos x="connsiteX3" y="connsiteY3"/>
                </a:cxn>
              </a:cxnLst>
              <a:rect l="l" t="t" r="r" b="b"/>
              <a:pathLst>
                <a:path w="44729" h="41495">
                  <a:moveTo>
                    <a:pt x="22365" y="0"/>
                  </a:moveTo>
                  <a:cubicBezTo>
                    <a:pt x="14697" y="0"/>
                    <a:pt x="5112" y="15322"/>
                    <a:pt x="0" y="41496"/>
                  </a:cubicBezTo>
                  <a:lnTo>
                    <a:pt x="44730" y="41496"/>
                  </a:lnTo>
                  <a:cubicBezTo>
                    <a:pt x="39618" y="15322"/>
                    <a:pt x="30033" y="0"/>
                    <a:pt x="22365"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7" name="Graphic 4">
              <a:extLst>
                <a:ext uri="{FF2B5EF4-FFF2-40B4-BE49-F238E27FC236}">
                  <a16:creationId xmlns:a16="http://schemas.microsoft.com/office/drawing/2014/main" id="{750A0DC5-7935-44BC-91D0-E09A16278A6C}"/>
                </a:ext>
              </a:extLst>
            </p:cNvPr>
            <p:cNvSpPr/>
            <p:nvPr/>
          </p:nvSpPr>
          <p:spPr>
            <a:xfrm>
              <a:off x="10041539" y="2486034"/>
              <a:ext cx="98200" cy="141975"/>
            </a:xfrm>
            <a:custGeom>
              <a:avLst/>
              <a:gdLst>
                <a:gd name="connsiteX0" fmla="*/ 48563 w 48591"/>
                <a:gd name="connsiteY0" fmla="*/ 25564 h 70252"/>
                <a:gd name="connsiteX1" fmla="*/ 25560 w 48591"/>
                <a:gd name="connsiteY1" fmla="*/ 28 h 70252"/>
                <a:gd name="connsiteX2" fmla="*/ 0 w 48591"/>
                <a:gd name="connsiteY2" fmla="*/ 23011 h 70252"/>
                <a:gd name="connsiteX3" fmla="*/ 0 w 48591"/>
                <a:gd name="connsiteY3" fmla="*/ 25564 h 70252"/>
                <a:gd name="connsiteX4" fmla="*/ 24921 w 48591"/>
                <a:gd name="connsiteY4" fmla="*/ 70252 h 70252"/>
                <a:gd name="connsiteX5" fmla="*/ 48563 w 48591"/>
                <a:gd name="connsiteY5" fmla="*/ 25564 h 70252"/>
                <a:gd name="connsiteX6" fmla="*/ 24282 w 48591"/>
                <a:gd name="connsiteY6" fmla="*/ 15350 h 70252"/>
                <a:gd name="connsiteX7" fmla="*/ 34506 w 48591"/>
                <a:gd name="connsiteY7" fmla="*/ 25564 h 70252"/>
                <a:gd name="connsiteX8" fmla="*/ 24282 w 48591"/>
                <a:gd name="connsiteY8" fmla="*/ 35779 h 70252"/>
                <a:gd name="connsiteX9" fmla="*/ 14058 w 48591"/>
                <a:gd name="connsiteY9" fmla="*/ 25564 h 70252"/>
                <a:gd name="connsiteX10" fmla="*/ 24282 w 48591"/>
                <a:gd name="connsiteY10" fmla="*/ 15350 h 70252"/>
                <a:gd name="connsiteX11" fmla="*/ 24282 w 48591"/>
                <a:gd name="connsiteY11" fmla="*/ 15350 h 70252"/>
                <a:gd name="connsiteX12" fmla="*/ 24282 w 48591"/>
                <a:gd name="connsiteY12" fmla="*/ 15350 h 7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591" h="70252">
                  <a:moveTo>
                    <a:pt x="48563" y="25564"/>
                  </a:moveTo>
                  <a:cubicBezTo>
                    <a:pt x="49202" y="12158"/>
                    <a:pt x="38979" y="667"/>
                    <a:pt x="25560" y="28"/>
                  </a:cubicBezTo>
                  <a:cubicBezTo>
                    <a:pt x="12141" y="-610"/>
                    <a:pt x="639" y="9604"/>
                    <a:pt x="0" y="23011"/>
                  </a:cubicBezTo>
                  <a:cubicBezTo>
                    <a:pt x="0" y="23649"/>
                    <a:pt x="0" y="24926"/>
                    <a:pt x="0" y="25564"/>
                  </a:cubicBezTo>
                  <a:cubicBezTo>
                    <a:pt x="0" y="25564"/>
                    <a:pt x="639" y="44716"/>
                    <a:pt x="24921" y="70252"/>
                  </a:cubicBezTo>
                  <a:cubicBezTo>
                    <a:pt x="48563" y="44078"/>
                    <a:pt x="48563" y="25564"/>
                    <a:pt x="48563" y="25564"/>
                  </a:cubicBezTo>
                  <a:close/>
                  <a:moveTo>
                    <a:pt x="24282" y="15350"/>
                  </a:moveTo>
                  <a:cubicBezTo>
                    <a:pt x="30033" y="15350"/>
                    <a:pt x="34506" y="19819"/>
                    <a:pt x="34506" y="25564"/>
                  </a:cubicBezTo>
                  <a:cubicBezTo>
                    <a:pt x="34506" y="31310"/>
                    <a:pt x="30033" y="35779"/>
                    <a:pt x="24282" y="35779"/>
                  </a:cubicBezTo>
                  <a:cubicBezTo>
                    <a:pt x="18531" y="35779"/>
                    <a:pt x="14058" y="31310"/>
                    <a:pt x="14058" y="25564"/>
                  </a:cubicBezTo>
                  <a:cubicBezTo>
                    <a:pt x="14058" y="19819"/>
                    <a:pt x="18531" y="15350"/>
                    <a:pt x="24282" y="15350"/>
                  </a:cubicBezTo>
                  <a:cubicBezTo>
                    <a:pt x="24282" y="15350"/>
                    <a:pt x="24282" y="15350"/>
                    <a:pt x="24282" y="15350"/>
                  </a:cubicBezTo>
                  <a:lnTo>
                    <a:pt x="24282" y="1535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8" name="Graphic 4">
              <a:extLst>
                <a:ext uri="{FF2B5EF4-FFF2-40B4-BE49-F238E27FC236}">
                  <a16:creationId xmlns:a16="http://schemas.microsoft.com/office/drawing/2014/main" id="{76C1C57D-A352-46FE-A574-9BF5BDC8EF8B}"/>
                </a:ext>
              </a:extLst>
            </p:cNvPr>
            <p:cNvSpPr/>
            <p:nvPr/>
          </p:nvSpPr>
          <p:spPr>
            <a:xfrm>
              <a:off x="10115146" y="2763476"/>
              <a:ext cx="95560" cy="77408"/>
            </a:xfrm>
            <a:custGeom>
              <a:avLst/>
              <a:gdLst>
                <a:gd name="connsiteX0" fmla="*/ 34506 w 47285"/>
                <a:gd name="connsiteY0" fmla="*/ 0 h 38303"/>
                <a:gd name="connsiteX1" fmla="*/ 0 w 47285"/>
                <a:gd name="connsiteY1" fmla="*/ 0 h 38303"/>
                <a:gd name="connsiteX2" fmla="*/ 47285 w 47285"/>
                <a:gd name="connsiteY2" fmla="*/ 38304 h 38303"/>
                <a:gd name="connsiteX3" fmla="*/ 34506 w 47285"/>
                <a:gd name="connsiteY3" fmla="*/ 0 h 38303"/>
              </a:gdLst>
              <a:ahLst/>
              <a:cxnLst>
                <a:cxn ang="0">
                  <a:pos x="connsiteX0" y="connsiteY0"/>
                </a:cxn>
                <a:cxn ang="0">
                  <a:pos x="connsiteX1" y="connsiteY1"/>
                </a:cxn>
                <a:cxn ang="0">
                  <a:pos x="connsiteX2" y="connsiteY2"/>
                </a:cxn>
                <a:cxn ang="0">
                  <a:pos x="connsiteX3" y="connsiteY3"/>
                </a:cxn>
              </a:cxnLst>
              <a:rect l="l" t="t" r="r" b="b"/>
              <a:pathLst>
                <a:path w="47285" h="38303">
                  <a:moveTo>
                    <a:pt x="34506" y="0"/>
                  </a:moveTo>
                  <a:lnTo>
                    <a:pt x="0" y="0"/>
                  </a:lnTo>
                  <a:cubicBezTo>
                    <a:pt x="10224" y="18513"/>
                    <a:pt x="26838" y="32558"/>
                    <a:pt x="47285" y="38304"/>
                  </a:cubicBezTo>
                  <a:cubicBezTo>
                    <a:pt x="40896" y="26174"/>
                    <a:pt x="36423" y="13406"/>
                    <a:pt x="34506"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9" name="Graphic 4">
              <a:extLst>
                <a:ext uri="{FF2B5EF4-FFF2-40B4-BE49-F238E27FC236}">
                  <a16:creationId xmlns:a16="http://schemas.microsoft.com/office/drawing/2014/main" id="{3E63D80A-C78F-4DE3-B71F-0D0950D612BA}"/>
                </a:ext>
              </a:extLst>
            </p:cNvPr>
            <p:cNvSpPr/>
            <p:nvPr/>
          </p:nvSpPr>
          <p:spPr>
            <a:xfrm>
              <a:off x="10301103" y="2763476"/>
              <a:ext cx="95560" cy="77408"/>
            </a:xfrm>
            <a:custGeom>
              <a:avLst/>
              <a:gdLst>
                <a:gd name="connsiteX0" fmla="*/ 12780 w 47285"/>
                <a:gd name="connsiteY0" fmla="*/ 0 h 38303"/>
                <a:gd name="connsiteX1" fmla="*/ 0 w 47285"/>
                <a:gd name="connsiteY1" fmla="*/ 38304 h 38303"/>
                <a:gd name="connsiteX2" fmla="*/ 47286 w 47285"/>
                <a:gd name="connsiteY2" fmla="*/ 0 h 38303"/>
                <a:gd name="connsiteX3" fmla="*/ 12780 w 47285"/>
                <a:gd name="connsiteY3" fmla="*/ 0 h 38303"/>
              </a:gdLst>
              <a:ahLst/>
              <a:cxnLst>
                <a:cxn ang="0">
                  <a:pos x="connsiteX0" y="connsiteY0"/>
                </a:cxn>
                <a:cxn ang="0">
                  <a:pos x="connsiteX1" y="connsiteY1"/>
                </a:cxn>
                <a:cxn ang="0">
                  <a:pos x="connsiteX2" y="connsiteY2"/>
                </a:cxn>
                <a:cxn ang="0">
                  <a:pos x="connsiteX3" y="connsiteY3"/>
                </a:cxn>
              </a:cxnLst>
              <a:rect l="l" t="t" r="r" b="b"/>
              <a:pathLst>
                <a:path w="47285" h="38303">
                  <a:moveTo>
                    <a:pt x="12780" y="0"/>
                  </a:moveTo>
                  <a:cubicBezTo>
                    <a:pt x="10863" y="13406"/>
                    <a:pt x="6390" y="26174"/>
                    <a:pt x="0" y="38304"/>
                  </a:cubicBezTo>
                  <a:cubicBezTo>
                    <a:pt x="20448" y="32558"/>
                    <a:pt x="37062" y="18513"/>
                    <a:pt x="47286" y="0"/>
                  </a:cubicBezTo>
                  <a:lnTo>
                    <a:pt x="12780" y="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0" name="Graphic 4">
              <a:extLst>
                <a:ext uri="{FF2B5EF4-FFF2-40B4-BE49-F238E27FC236}">
                  <a16:creationId xmlns:a16="http://schemas.microsoft.com/office/drawing/2014/main" id="{F0D71092-7228-4CA8-8D7A-04FCDE599CE4}"/>
                </a:ext>
              </a:extLst>
            </p:cNvPr>
            <p:cNvSpPr/>
            <p:nvPr/>
          </p:nvSpPr>
          <p:spPr>
            <a:xfrm>
              <a:off x="9862039" y="2301599"/>
              <a:ext cx="732206" cy="731520"/>
            </a:xfrm>
            <a:custGeom>
              <a:avLst/>
              <a:gdLst>
                <a:gd name="connsiteX0" fmla="*/ 180835 w 362309"/>
                <a:gd name="connsiteY0" fmla="*/ 0 h 361971"/>
                <a:gd name="connsiteX1" fmla="*/ 0 w 362309"/>
                <a:gd name="connsiteY1" fmla="*/ 180667 h 361971"/>
                <a:gd name="connsiteX2" fmla="*/ 180835 w 362309"/>
                <a:gd name="connsiteY2" fmla="*/ 361971 h 361971"/>
                <a:gd name="connsiteX3" fmla="*/ 362309 w 362309"/>
                <a:gd name="connsiteY3" fmla="*/ 180667 h 361971"/>
                <a:gd name="connsiteX4" fmla="*/ 362309 w 362309"/>
                <a:gd name="connsiteY4" fmla="*/ 180667 h 361971"/>
                <a:gd name="connsiteX5" fmla="*/ 180835 w 362309"/>
                <a:gd name="connsiteY5" fmla="*/ 0 h 361971"/>
                <a:gd name="connsiteX6" fmla="*/ 113102 w 362309"/>
                <a:gd name="connsiteY6" fmla="*/ 79161 h 361971"/>
                <a:gd name="connsiteX7" fmla="*/ 150164 w 362309"/>
                <a:gd name="connsiteY7" fmla="*/ 116188 h 361971"/>
                <a:gd name="connsiteX8" fmla="*/ 117575 w 362309"/>
                <a:gd name="connsiteY8" fmla="*/ 174921 h 361971"/>
                <a:gd name="connsiteX9" fmla="*/ 108629 w 362309"/>
                <a:gd name="connsiteY9" fmla="*/ 174921 h 361971"/>
                <a:gd name="connsiteX10" fmla="*/ 76040 w 362309"/>
                <a:gd name="connsiteY10" fmla="*/ 116188 h 361971"/>
                <a:gd name="connsiteX11" fmla="*/ 113102 w 362309"/>
                <a:gd name="connsiteY11" fmla="*/ 79161 h 361971"/>
                <a:gd name="connsiteX12" fmla="*/ 194893 w 362309"/>
                <a:gd name="connsiteY12" fmla="*/ 282810 h 361971"/>
                <a:gd name="connsiteX13" fmla="*/ 103517 w 362309"/>
                <a:gd name="connsiteY13" fmla="*/ 199819 h 361971"/>
                <a:gd name="connsiteX14" fmla="*/ 109268 w 362309"/>
                <a:gd name="connsiteY14" fmla="*/ 192796 h 361971"/>
                <a:gd name="connsiteX15" fmla="*/ 116297 w 362309"/>
                <a:gd name="connsiteY15" fmla="*/ 198542 h 361971"/>
                <a:gd name="connsiteX16" fmla="*/ 120131 w 362309"/>
                <a:gd name="connsiteY16" fmla="*/ 215779 h 361971"/>
                <a:gd name="connsiteX17" fmla="*/ 157831 w 362309"/>
                <a:gd name="connsiteY17" fmla="*/ 215779 h 361971"/>
                <a:gd name="connsiteX18" fmla="*/ 157831 w 362309"/>
                <a:gd name="connsiteY18" fmla="*/ 166622 h 361971"/>
                <a:gd name="connsiteX19" fmla="*/ 155915 w 362309"/>
                <a:gd name="connsiteY19" fmla="*/ 166622 h 361971"/>
                <a:gd name="connsiteX20" fmla="*/ 149525 w 362309"/>
                <a:gd name="connsiteY20" fmla="*/ 160238 h 361971"/>
                <a:gd name="connsiteX21" fmla="*/ 155915 w 362309"/>
                <a:gd name="connsiteY21" fmla="*/ 153854 h 361971"/>
                <a:gd name="connsiteX22" fmla="*/ 159748 w 362309"/>
                <a:gd name="connsiteY22" fmla="*/ 153854 h 361971"/>
                <a:gd name="connsiteX23" fmla="*/ 172528 w 362309"/>
                <a:gd name="connsiteY23" fmla="*/ 115550 h 361971"/>
                <a:gd name="connsiteX24" fmla="*/ 165499 w 362309"/>
                <a:gd name="connsiteY24" fmla="*/ 109804 h 361971"/>
                <a:gd name="connsiteX25" fmla="*/ 169333 w 362309"/>
                <a:gd name="connsiteY25" fmla="*/ 103420 h 361971"/>
                <a:gd name="connsiteX26" fmla="*/ 282435 w 362309"/>
                <a:gd name="connsiteY26" fmla="*/ 165984 h 361971"/>
                <a:gd name="connsiteX27" fmla="*/ 219814 w 362309"/>
                <a:gd name="connsiteY27" fmla="*/ 278980 h 361971"/>
                <a:gd name="connsiteX28" fmla="*/ 194893 w 362309"/>
                <a:gd name="connsiteY28" fmla="*/ 282810 h 361971"/>
                <a:gd name="connsiteX29" fmla="*/ 194893 w 362309"/>
                <a:gd name="connsiteY29" fmla="*/ 28281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62309" h="361971">
                  <a:moveTo>
                    <a:pt x="180835" y="0"/>
                  </a:moveTo>
                  <a:cubicBezTo>
                    <a:pt x="80513" y="0"/>
                    <a:pt x="0" y="81076"/>
                    <a:pt x="0" y="180667"/>
                  </a:cubicBezTo>
                  <a:cubicBezTo>
                    <a:pt x="0" y="280895"/>
                    <a:pt x="81152" y="361971"/>
                    <a:pt x="180835" y="361971"/>
                  </a:cubicBezTo>
                  <a:cubicBezTo>
                    <a:pt x="280518" y="361971"/>
                    <a:pt x="362309" y="280895"/>
                    <a:pt x="362309" y="180667"/>
                  </a:cubicBezTo>
                  <a:lnTo>
                    <a:pt x="362309" y="180667"/>
                  </a:lnTo>
                  <a:cubicBezTo>
                    <a:pt x="361670" y="81076"/>
                    <a:pt x="281157" y="0"/>
                    <a:pt x="180835" y="0"/>
                  </a:cubicBezTo>
                  <a:close/>
                  <a:moveTo>
                    <a:pt x="113102" y="79161"/>
                  </a:moveTo>
                  <a:cubicBezTo>
                    <a:pt x="133550" y="79161"/>
                    <a:pt x="150164" y="95760"/>
                    <a:pt x="150164" y="116188"/>
                  </a:cubicBezTo>
                  <a:cubicBezTo>
                    <a:pt x="150164" y="117465"/>
                    <a:pt x="150164" y="142363"/>
                    <a:pt x="117575" y="174921"/>
                  </a:cubicBezTo>
                  <a:cubicBezTo>
                    <a:pt x="115019" y="177475"/>
                    <a:pt x="111185" y="177475"/>
                    <a:pt x="108629" y="174921"/>
                  </a:cubicBezTo>
                  <a:cubicBezTo>
                    <a:pt x="76040" y="142363"/>
                    <a:pt x="76040" y="117465"/>
                    <a:pt x="76040" y="116188"/>
                  </a:cubicBezTo>
                  <a:cubicBezTo>
                    <a:pt x="76040" y="95760"/>
                    <a:pt x="92654" y="79161"/>
                    <a:pt x="113102" y="79161"/>
                  </a:cubicBezTo>
                  <a:close/>
                  <a:moveTo>
                    <a:pt x="194893" y="282810"/>
                  </a:moveTo>
                  <a:cubicBezTo>
                    <a:pt x="147608" y="282810"/>
                    <a:pt x="107990" y="247060"/>
                    <a:pt x="103517" y="199819"/>
                  </a:cubicBezTo>
                  <a:cubicBezTo>
                    <a:pt x="103517" y="195988"/>
                    <a:pt x="106073" y="193435"/>
                    <a:pt x="109268" y="192796"/>
                  </a:cubicBezTo>
                  <a:cubicBezTo>
                    <a:pt x="113102" y="192796"/>
                    <a:pt x="115658" y="195350"/>
                    <a:pt x="116297" y="198542"/>
                  </a:cubicBezTo>
                  <a:cubicBezTo>
                    <a:pt x="116936" y="204287"/>
                    <a:pt x="118214" y="210033"/>
                    <a:pt x="120131" y="215779"/>
                  </a:cubicBezTo>
                  <a:lnTo>
                    <a:pt x="157831" y="215779"/>
                  </a:lnTo>
                  <a:cubicBezTo>
                    <a:pt x="155915" y="199180"/>
                    <a:pt x="155915" y="183220"/>
                    <a:pt x="157831" y="166622"/>
                  </a:cubicBezTo>
                  <a:lnTo>
                    <a:pt x="155915" y="166622"/>
                  </a:lnTo>
                  <a:cubicBezTo>
                    <a:pt x="152081" y="166622"/>
                    <a:pt x="149525" y="164068"/>
                    <a:pt x="149525" y="160238"/>
                  </a:cubicBezTo>
                  <a:cubicBezTo>
                    <a:pt x="149525" y="156408"/>
                    <a:pt x="152081" y="153854"/>
                    <a:pt x="155915" y="153854"/>
                  </a:cubicBezTo>
                  <a:lnTo>
                    <a:pt x="159748" y="153854"/>
                  </a:lnTo>
                  <a:cubicBezTo>
                    <a:pt x="161665" y="140448"/>
                    <a:pt x="166138" y="127680"/>
                    <a:pt x="172528" y="115550"/>
                  </a:cubicBezTo>
                  <a:cubicBezTo>
                    <a:pt x="168694" y="115550"/>
                    <a:pt x="166138" y="112996"/>
                    <a:pt x="165499" y="109804"/>
                  </a:cubicBezTo>
                  <a:cubicBezTo>
                    <a:pt x="165499" y="107251"/>
                    <a:pt x="166777" y="104059"/>
                    <a:pt x="169333" y="103420"/>
                  </a:cubicBezTo>
                  <a:cubicBezTo>
                    <a:pt x="217897" y="89376"/>
                    <a:pt x="268377" y="117465"/>
                    <a:pt x="282435" y="165984"/>
                  </a:cubicBezTo>
                  <a:cubicBezTo>
                    <a:pt x="296493" y="214502"/>
                    <a:pt x="268377" y="264935"/>
                    <a:pt x="219814" y="278980"/>
                  </a:cubicBezTo>
                  <a:cubicBezTo>
                    <a:pt x="212146" y="281533"/>
                    <a:pt x="203200" y="282810"/>
                    <a:pt x="194893" y="282810"/>
                  </a:cubicBezTo>
                  <a:lnTo>
                    <a:pt x="194893" y="28281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1" name="Graphic 4">
              <a:extLst>
                <a:ext uri="{FF2B5EF4-FFF2-40B4-BE49-F238E27FC236}">
                  <a16:creationId xmlns:a16="http://schemas.microsoft.com/office/drawing/2014/main" id="{C8F672E9-28E2-4148-A890-4404FDADF268}"/>
                </a:ext>
              </a:extLst>
            </p:cNvPr>
            <p:cNvSpPr/>
            <p:nvPr/>
          </p:nvSpPr>
          <p:spPr>
            <a:xfrm>
              <a:off x="10203928" y="2638329"/>
              <a:ext cx="103632" cy="99341"/>
            </a:xfrm>
            <a:custGeom>
              <a:avLst/>
              <a:gdLst>
                <a:gd name="connsiteX0" fmla="*/ 51279 w 51279"/>
                <a:gd name="connsiteY0" fmla="*/ 24259 h 49156"/>
                <a:gd name="connsiteX1" fmla="*/ 50001 w 51279"/>
                <a:gd name="connsiteY1" fmla="*/ 0 h 49156"/>
                <a:gd name="connsiteX2" fmla="*/ 1438 w 51279"/>
                <a:gd name="connsiteY2" fmla="*/ 0 h 49156"/>
                <a:gd name="connsiteX3" fmla="*/ 1438 w 51279"/>
                <a:gd name="connsiteY3" fmla="*/ 49157 h 49156"/>
                <a:gd name="connsiteX4" fmla="*/ 50001 w 51279"/>
                <a:gd name="connsiteY4" fmla="*/ 49157 h 49156"/>
                <a:gd name="connsiteX5" fmla="*/ 51279 w 51279"/>
                <a:gd name="connsiteY5" fmla="*/ 24259 h 49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279" h="49156">
                  <a:moveTo>
                    <a:pt x="51279" y="24259"/>
                  </a:moveTo>
                  <a:cubicBezTo>
                    <a:pt x="51279" y="15960"/>
                    <a:pt x="50640" y="7661"/>
                    <a:pt x="50001" y="0"/>
                  </a:cubicBezTo>
                  <a:lnTo>
                    <a:pt x="1438" y="0"/>
                  </a:lnTo>
                  <a:cubicBezTo>
                    <a:pt x="-479" y="16598"/>
                    <a:pt x="-479" y="32558"/>
                    <a:pt x="1438" y="49157"/>
                  </a:cubicBezTo>
                  <a:lnTo>
                    <a:pt x="50001" y="49157"/>
                  </a:lnTo>
                  <a:cubicBezTo>
                    <a:pt x="50640" y="40858"/>
                    <a:pt x="51279" y="32558"/>
                    <a:pt x="51279" y="24259"/>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2" name="Graphic 4">
              <a:extLst>
                <a:ext uri="{FF2B5EF4-FFF2-40B4-BE49-F238E27FC236}">
                  <a16:creationId xmlns:a16="http://schemas.microsoft.com/office/drawing/2014/main" id="{E540B3E7-6DBF-4F89-8053-4F75A46B605D}"/>
                </a:ext>
              </a:extLst>
            </p:cNvPr>
            <p:cNvSpPr/>
            <p:nvPr/>
          </p:nvSpPr>
          <p:spPr>
            <a:xfrm>
              <a:off x="10210708" y="2763476"/>
              <a:ext cx="90395" cy="83859"/>
            </a:xfrm>
            <a:custGeom>
              <a:avLst/>
              <a:gdLst>
                <a:gd name="connsiteX0" fmla="*/ 0 w 44729"/>
                <a:gd name="connsiteY0" fmla="*/ 0 h 41495"/>
                <a:gd name="connsiteX1" fmla="*/ 22365 w 44729"/>
                <a:gd name="connsiteY1" fmla="*/ 41496 h 41495"/>
                <a:gd name="connsiteX2" fmla="*/ 44730 w 44729"/>
                <a:gd name="connsiteY2" fmla="*/ 0 h 41495"/>
                <a:gd name="connsiteX3" fmla="*/ 0 w 44729"/>
                <a:gd name="connsiteY3" fmla="*/ 0 h 41495"/>
              </a:gdLst>
              <a:ahLst/>
              <a:cxnLst>
                <a:cxn ang="0">
                  <a:pos x="connsiteX0" y="connsiteY0"/>
                </a:cxn>
                <a:cxn ang="0">
                  <a:pos x="connsiteX1" y="connsiteY1"/>
                </a:cxn>
                <a:cxn ang="0">
                  <a:pos x="connsiteX2" y="connsiteY2"/>
                </a:cxn>
                <a:cxn ang="0">
                  <a:pos x="connsiteX3" y="connsiteY3"/>
                </a:cxn>
              </a:cxnLst>
              <a:rect l="l" t="t" r="r" b="b"/>
              <a:pathLst>
                <a:path w="44729" h="41495">
                  <a:moveTo>
                    <a:pt x="0" y="0"/>
                  </a:moveTo>
                  <a:cubicBezTo>
                    <a:pt x="5112" y="26174"/>
                    <a:pt x="14697" y="41496"/>
                    <a:pt x="22365" y="41496"/>
                  </a:cubicBezTo>
                  <a:cubicBezTo>
                    <a:pt x="30033" y="41496"/>
                    <a:pt x="39618" y="26174"/>
                    <a:pt x="44730" y="0"/>
                  </a:cubicBezTo>
                  <a:lnTo>
                    <a:pt x="0" y="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13" name="Group 212">
            <a:extLst>
              <a:ext uri="{FF2B5EF4-FFF2-40B4-BE49-F238E27FC236}">
                <a16:creationId xmlns:a16="http://schemas.microsoft.com/office/drawing/2014/main" id="{4A393B69-91A7-4D1B-92E1-62BB2882173E}"/>
              </a:ext>
            </a:extLst>
          </p:cNvPr>
          <p:cNvGrpSpPr/>
          <p:nvPr/>
        </p:nvGrpSpPr>
        <p:grpSpPr>
          <a:xfrm>
            <a:off x="9460437" y="4335559"/>
            <a:ext cx="581374" cy="580827"/>
            <a:chOff x="9840078" y="4207762"/>
            <a:chExt cx="732209" cy="731520"/>
          </a:xfrm>
          <a:solidFill>
            <a:schemeClr val="accent4"/>
          </a:solidFill>
        </p:grpSpPr>
        <p:sp>
          <p:nvSpPr>
            <p:cNvPr id="214" name="Graphic 4">
              <a:extLst>
                <a:ext uri="{FF2B5EF4-FFF2-40B4-BE49-F238E27FC236}">
                  <a16:creationId xmlns:a16="http://schemas.microsoft.com/office/drawing/2014/main" id="{4A0E45D1-D7A8-46F7-B686-448240933A56}"/>
                </a:ext>
              </a:extLst>
            </p:cNvPr>
            <p:cNvSpPr/>
            <p:nvPr/>
          </p:nvSpPr>
          <p:spPr>
            <a:xfrm>
              <a:off x="10031200" y="4499339"/>
              <a:ext cx="56819" cy="56766"/>
            </a:xfrm>
            <a:custGeom>
              <a:avLst/>
              <a:gdLst>
                <a:gd name="connsiteX0" fmla="*/ 14058 w 28115"/>
                <a:gd name="connsiteY0" fmla="*/ 28089 h 28089"/>
                <a:gd name="connsiteX1" fmla="*/ 28115 w 28115"/>
                <a:gd name="connsiteY1" fmla="*/ 14045 h 28089"/>
                <a:gd name="connsiteX2" fmla="*/ 14058 w 28115"/>
                <a:gd name="connsiteY2" fmla="*/ 0 h 28089"/>
                <a:gd name="connsiteX3" fmla="*/ 0 w 28115"/>
                <a:gd name="connsiteY3" fmla="*/ 14045 h 28089"/>
                <a:gd name="connsiteX4" fmla="*/ 0 w 28115"/>
                <a:gd name="connsiteY4" fmla="*/ 14045 h 28089"/>
                <a:gd name="connsiteX5" fmla="*/ 14058 w 28115"/>
                <a:gd name="connsiteY5" fmla="*/ 28089 h 2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15" h="28089">
                  <a:moveTo>
                    <a:pt x="14058" y="28089"/>
                  </a:moveTo>
                  <a:cubicBezTo>
                    <a:pt x="21725" y="28089"/>
                    <a:pt x="28115" y="21706"/>
                    <a:pt x="28115" y="14045"/>
                  </a:cubicBezTo>
                  <a:cubicBezTo>
                    <a:pt x="28115" y="6384"/>
                    <a:pt x="21725" y="0"/>
                    <a:pt x="14058" y="0"/>
                  </a:cubicBezTo>
                  <a:cubicBezTo>
                    <a:pt x="6390" y="0"/>
                    <a:pt x="0" y="6384"/>
                    <a:pt x="0" y="14045"/>
                  </a:cubicBezTo>
                  <a:cubicBezTo>
                    <a:pt x="0" y="14045"/>
                    <a:pt x="0" y="14045"/>
                    <a:pt x="0" y="14045"/>
                  </a:cubicBezTo>
                  <a:cubicBezTo>
                    <a:pt x="0" y="21706"/>
                    <a:pt x="6390" y="28089"/>
                    <a:pt x="14058" y="28089"/>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5" name="Graphic 4">
              <a:extLst>
                <a:ext uri="{FF2B5EF4-FFF2-40B4-BE49-F238E27FC236}">
                  <a16:creationId xmlns:a16="http://schemas.microsoft.com/office/drawing/2014/main" id="{F5851D80-B876-4E4E-B522-A0C9FF9533D7}"/>
                </a:ext>
              </a:extLst>
            </p:cNvPr>
            <p:cNvSpPr/>
            <p:nvPr/>
          </p:nvSpPr>
          <p:spPr>
            <a:xfrm>
              <a:off x="10204242" y="4548364"/>
              <a:ext cx="15495" cy="15480"/>
            </a:xfrm>
            <a:custGeom>
              <a:avLst/>
              <a:gdLst>
                <a:gd name="connsiteX0" fmla="*/ 0 w 7667"/>
                <a:gd name="connsiteY0" fmla="*/ 0 h 7660"/>
                <a:gd name="connsiteX1" fmla="*/ 7667 w 7667"/>
                <a:gd name="connsiteY1" fmla="*/ 0 h 7660"/>
                <a:gd name="connsiteX2" fmla="*/ 7667 w 7667"/>
                <a:gd name="connsiteY2" fmla="*/ 7661 h 7660"/>
                <a:gd name="connsiteX3" fmla="*/ 0 w 7667"/>
                <a:gd name="connsiteY3" fmla="*/ 7661 h 7660"/>
              </a:gdLst>
              <a:ahLst/>
              <a:cxnLst>
                <a:cxn ang="0">
                  <a:pos x="connsiteX0" y="connsiteY0"/>
                </a:cxn>
                <a:cxn ang="0">
                  <a:pos x="connsiteX1" y="connsiteY1"/>
                </a:cxn>
                <a:cxn ang="0">
                  <a:pos x="connsiteX2" y="connsiteY2"/>
                </a:cxn>
                <a:cxn ang="0">
                  <a:pos x="connsiteX3" y="connsiteY3"/>
                </a:cxn>
              </a:cxnLst>
              <a:rect l="l" t="t" r="r" b="b"/>
              <a:pathLst>
                <a:path w="7667" h="7660">
                  <a:moveTo>
                    <a:pt x="0" y="0"/>
                  </a:moveTo>
                  <a:lnTo>
                    <a:pt x="7667" y="0"/>
                  </a:lnTo>
                  <a:lnTo>
                    <a:pt x="7667" y="7661"/>
                  </a:lnTo>
                  <a:lnTo>
                    <a:pt x="0" y="7661"/>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6" name="Graphic 4">
              <a:extLst>
                <a:ext uri="{FF2B5EF4-FFF2-40B4-BE49-F238E27FC236}">
                  <a16:creationId xmlns:a16="http://schemas.microsoft.com/office/drawing/2014/main" id="{5391B31C-64CF-4F38-B08E-960AF412C4C7}"/>
                </a:ext>
              </a:extLst>
            </p:cNvPr>
            <p:cNvSpPr/>
            <p:nvPr/>
          </p:nvSpPr>
          <p:spPr>
            <a:xfrm>
              <a:off x="9840078" y="4207762"/>
              <a:ext cx="732209" cy="731520"/>
            </a:xfrm>
            <a:custGeom>
              <a:avLst/>
              <a:gdLst>
                <a:gd name="connsiteX0" fmla="*/ 181474 w 362312"/>
                <a:gd name="connsiteY0" fmla="*/ 0 h 361971"/>
                <a:gd name="connsiteX1" fmla="*/ 0 w 362312"/>
                <a:gd name="connsiteY1" fmla="*/ 180667 h 361971"/>
                <a:gd name="connsiteX2" fmla="*/ 180836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08629 w 362312"/>
                <a:gd name="connsiteY6" fmla="*/ 131510 h 361971"/>
                <a:gd name="connsiteX7" fmla="*/ 135466 w 362312"/>
                <a:gd name="connsiteY7" fmla="*/ 158323 h 361971"/>
                <a:gd name="connsiteX8" fmla="*/ 108629 w 362312"/>
                <a:gd name="connsiteY8" fmla="*/ 185135 h 361971"/>
                <a:gd name="connsiteX9" fmla="*/ 81792 w 362312"/>
                <a:gd name="connsiteY9" fmla="*/ 158323 h 361971"/>
                <a:gd name="connsiteX10" fmla="*/ 81792 w 362312"/>
                <a:gd name="connsiteY10" fmla="*/ 158323 h 361971"/>
                <a:gd name="connsiteX11" fmla="*/ 108629 w 362312"/>
                <a:gd name="connsiteY11" fmla="*/ 131510 h 361971"/>
                <a:gd name="connsiteX12" fmla="*/ 108629 w 362312"/>
                <a:gd name="connsiteY12" fmla="*/ 131510 h 361971"/>
                <a:gd name="connsiteX13" fmla="*/ 179557 w 362312"/>
                <a:gd name="connsiteY13" fmla="*/ 207479 h 361971"/>
                <a:gd name="connsiteX14" fmla="*/ 178279 w 362312"/>
                <a:gd name="connsiteY14" fmla="*/ 208756 h 361971"/>
                <a:gd name="connsiteX15" fmla="*/ 175084 w 362312"/>
                <a:gd name="connsiteY15" fmla="*/ 211310 h 361971"/>
                <a:gd name="connsiteX16" fmla="*/ 163582 w 362312"/>
                <a:gd name="connsiteY16" fmla="*/ 254083 h 361971"/>
                <a:gd name="connsiteX17" fmla="*/ 157192 w 362312"/>
                <a:gd name="connsiteY17" fmla="*/ 258551 h 361971"/>
                <a:gd name="connsiteX18" fmla="*/ 155276 w 362312"/>
                <a:gd name="connsiteY18" fmla="*/ 258551 h 361971"/>
                <a:gd name="connsiteX19" fmla="*/ 150802 w 362312"/>
                <a:gd name="connsiteY19" fmla="*/ 250891 h 361971"/>
                <a:gd name="connsiteX20" fmla="*/ 157831 w 362312"/>
                <a:gd name="connsiteY20" fmla="*/ 225355 h 361971"/>
                <a:gd name="connsiteX21" fmla="*/ 146330 w 362312"/>
                <a:gd name="connsiteY21" fmla="*/ 254721 h 361971"/>
                <a:gd name="connsiteX22" fmla="*/ 138022 w 362312"/>
                <a:gd name="connsiteY22" fmla="*/ 258551 h 361971"/>
                <a:gd name="connsiteX23" fmla="*/ 133550 w 362312"/>
                <a:gd name="connsiteY23" fmla="*/ 252806 h 361971"/>
                <a:gd name="connsiteX24" fmla="*/ 133550 w 362312"/>
                <a:gd name="connsiteY24" fmla="*/ 216417 h 361971"/>
                <a:gd name="connsiteX25" fmla="*/ 120131 w 362312"/>
                <a:gd name="connsiteY25" fmla="*/ 202372 h 361971"/>
                <a:gd name="connsiteX26" fmla="*/ 120131 w 362312"/>
                <a:gd name="connsiteY26" fmla="*/ 202372 h 361971"/>
                <a:gd name="connsiteX27" fmla="*/ 95849 w 362312"/>
                <a:gd name="connsiteY27" fmla="*/ 202372 h 361971"/>
                <a:gd name="connsiteX28" fmla="*/ 81792 w 362312"/>
                <a:gd name="connsiteY28" fmla="*/ 215779 h 361971"/>
                <a:gd name="connsiteX29" fmla="*/ 81792 w 362312"/>
                <a:gd name="connsiteY29" fmla="*/ 216417 h 361971"/>
                <a:gd name="connsiteX30" fmla="*/ 81792 w 362312"/>
                <a:gd name="connsiteY30" fmla="*/ 252806 h 361971"/>
                <a:gd name="connsiteX31" fmla="*/ 75402 w 362312"/>
                <a:gd name="connsiteY31" fmla="*/ 259190 h 361971"/>
                <a:gd name="connsiteX32" fmla="*/ 69012 w 362312"/>
                <a:gd name="connsiteY32" fmla="*/ 252806 h 361971"/>
                <a:gd name="connsiteX33" fmla="*/ 69012 w 362312"/>
                <a:gd name="connsiteY33" fmla="*/ 216417 h 361971"/>
                <a:gd name="connsiteX34" fmla="*/ 95210 w 362312"/>
                <a:gd name="connsiteY34" fmla="*/ 189604 h 361971"/>
                <a:gd name="connsiteX35" fmla="*/ 95849 w 362312"/>
                <a:gd name="connsiteY35" fmla="*/ 189604 h 361971"/>
                <a:gd name="connsiteX36" fmla="*/ 120131 w 362312"/>
                <a:gd name="connsiteY36" fmla="*/ 189604 h 361971"/>
                <a:gd name="connsiteX37" fmla="*/ 146969 w 362312"/>
                <a:gd name="connsiteY37" fmla="*/ 215779 h 361971"/>
                <a:gd name="connsiteX38" fmla="*/ 146969 w 362312"/>
                <a:gd name="connsiteY38" fmla="*/ 216417 h 361971"/>
                <a:gd name="connsiteX39" fmla="*/ 146969 w 362312"/>
                <a:gd name="connsiteY39" fmla="*/ 218332 h 361971"/>
                <a:gd name="connsiteX40" fmla="*/ 152720 w 362312"/>
                <a:gd name="connsiteY40" fmla="*/ 203011 h 361971"/>
                <a:gd name="connsiteX41" fmla="*/ 164221 w 362312"/>
                <a:gd name="connsiteY41" fmla="*/ 192796 h 361971"/>
                <a:gd name="connsiteX42" fmla="*/ 167416 w 362312"/>
                <a:gd name="connsiteY42" fmla="*/ 192158 h 361971"/>
                <a:gd name="connsiteX43" fmla="*/ 180196 w 362312"/>
                <a:gd name="connsiteY43" fmla="*/ 197265 h 361971"/>
                <a:gd name="connsiteX44" fmla="*/ 179557 w 362312"/>
                <a:gd name="connsiteY44" fmla="*/ 207479 h 361971"/>
                <a:gd name="connsiteX45" fmla="*/ 179557 w 362312"/>
                <a:gd name="connsiteY45" fmla="*/ 207479 h 361971"/>
                <a:gd name="connsiteX46" fmla="*/ 200005 w 362312"/>
                <a:gd name="connsiteY46" fmla="*/ 182582 h 361971"/>
                <a:gd name="connsiteX47" fmla="*/ 193615 w 362312"/>
                <a:gd name="connsiteY47" fmla="*/ 188966 h 361971"/>
                <a:gd name="connsiteX48" fmla="*/ 173167 w 362312"/>
                <a:gd name="connsiteY48" fmla="*/ 188966 h 361971"/>
                <a:gd name="connsiteX49" fmla="*/ 166777 w 362312"/>
                <a:gd name="connsiteY49" fmla="*/ 182582 h 361971"/>
                <a:gd name="connsiteX50" fmla="*/ 166777 w 362312"/>
                <a:gd name="connsiteY50" fmla="*/ 162153 h 361971"/>
                <a:gd name="connsiteX51" fmla="*/ 173167 w 362312"/>
                <a:gd name="connsiteY51" fmla="*/ 155769 h 361971"/>
                <a:gd name="connsiteX52" fmla="*/ 193615 w 362312"/>
                <a:gd name="connsiteY52" fmla="*/ 155769 h 361971"/>
                <a:gd name="connsiteX53" fmla="*/ 200005 w 362312"/>
                <a:gd name="connsiteY53" fmla="*/ 162153 h 361971"/>
                <a:gd name="connsiteX54" fmla="*/ 200005 w 362312"/>
                <a:gd name="connsiteY54" fmla="*/ 182582 h 361971"/>
                <a:gd name="connsiteX55" fmla="*/ 200005 w 362312"/>
                <a:gd name="connsiteY55" fmla="*/ 130233 h 361971"/>
                <a:gd name="connsiteX56" fmla="*/ 193615 w 362312"/>
                <a:gd name="connsiteY56" fmla="*/ 136617 h 361971"/>
                <a:gd name="connsiteX57" fmla="*/ 173167 w 362312"/>
                <a:gd name="connsiteY57" fmla="*/ 136617 h 361971"/>
                <a:gd name="connsiteX58" fmla="*/ 166777 w 362312"/>
                <a:gd name="connsiteY58" fmla="*/ 130233 h 361971"/>
                <a:gd name="connsiteX59" fmla="*/ 166777 w 362312"/>
                <a:gd name="connsiteY59" fmla="*/ 109804 h 361971"/>
                <a:gd name="connsiteX60" fmla="*/ 173167 w 362312"/>
                <a:gd name="connsiteY60" fmla="*/ 103420 h 361971"/>
                <a:gd name="connsiteX61" fmla="*/ 193615 w 362312"/>
                <a:gd name="connsiteY61" fmla="*/ 103420 h 361971"/>
                <a:gd name="connsiteX62" fmla="*/ 200005 w 362312"/>
                <a:gd name="connsiteY62" fmla="*/ 109804 h 361971"/>
                <a:gd name="connsiteX63" fmla="*/ 200005 w 362312"/>
                <a:gd name="connsiteY63" fmla="*/ 130233 h 361971"/>
                <a:gd name="connsiteX64" fmla="*/ 287547 w 362312"/>
                <a:gd name="connsiteY64" fmla="*/ 188966 h 361971"/>
                <a:gd name="connsiteX65" fmla="*/ 218536 w 362312"/>
                <a:gd name="connsiteY65" fmla="*/ 188966 h 361971"/>
                <a:gd name="connsiteX66" fmla="*/ 212146 w 362312"/>
                <a:gd name="connsiteY66" fmla="*/ 182582 h 361971"/>
                <a:gd name="connsiteX67" fmla="*/ 218536 w 362312"/>
                <a:gd name="connsiteY67" fmla="*/ 176198 h 361971"/>
                <a:gd name="connsiteX68" fmla="*/ 287547 w 362312"/>
                <a:gd name="connsiteY68" fmla="*/ 176198 h 361971"/>
                <a:gd name="connsiteX69" fmla="*/ 293937 w 362312"/>
                <a:gd name="connsiteY69" fmla="*/ 182582 h 361971"/>
                <a:gd name="connsiteX70" fmla="*/ 287547 w 362312"/>
                <a:gd name="connsiteY70" fmla="*/ 188966 h 361971"/>
                <a:gd name="connsiteX71" fmla="*/ 287547 w 362312"/>
                <a:gd name="connsiteY71" fmla="*/ 169176 h 361971"/>
                <a:gd name="connsiteX72" fmla="*/ 218536 w 362312"/>
                <a:gd name="connsiteY72" fmla="*/ 169176 h 361971"/>
                <a:gd name="connsiteX73" fmla="*/ 212146 w 362312"/>
                <a:gd name="connsiteY73" fmla="*/ 162792 h 361971"/>
                <a:gd name="connsiteX74" fmla="*/ 218536 w 362312"/>
                <a:gd name="connsiteY74" fmla="*/ 156408 h 361971"/>
                <a:gd name="connsiteX75" fmla="*/ 287547 w 362312"/>
                <a:gd name="connsiteY75" fmla="*/ 156408 h 361971"/>
                <a:gd name="connsiteX76" fmla="*/ 293937 w 362312"/>
                <a:gd name="connsiteY76" fmla="*/ 162792 h 361971"/>
                <a:gd name="connsiteX77" fmla="*/ 287547 w 362312"/>
                <a:gd name="connsiteY77" fmla="*/ 169176 h 361971"/>
                <a:gd name="connsiteX78" fmla="*/ 287547 w 362312"/>
                <a:gd name="connsiteY78" fmla="*/ 136617 h 361971"/>
                <a:gd name="connsiteX79" fmla="*/ 218536 w 362312"/>
                <a:gd name="connsiteY79" fmla="*/ 136617 h 361971"/>
                <a:gd name="connsiteX80" fmla="*/ 212146 w 362312"/>
                <a:gd name="connsiteY80" fmla="*/ 130233 h 361971"/>
                <a:gd name="connsiteX81" fmla="*/ 218536 w 362312"/>
                <a:gd name="connsiteY81" fmla="*/ 123849 h 361971"/>
                <a:gd name="connsiteX82" fmla="*/ 287547 w 362312"/>
                <a:gd name="connsiteY82" fmla="*/ 123849 h 361971"/>
                <a:gd name="connsiteX83" fmla="*/ 293937 w 362312"/>
                <a:gd name="connsiteY83" fmla="*/ 130233 h 361971"/>
                <a:gd name="connsiteX84" fmla="*/ 287547 w 362312"/>
                <a:gd name="connsiteY84" fmla="*/ 136617 h 361971"/>
                <a:gd name="connsiteX85" fmla="*/ 287547 w 362312"/>
                <a:gd name="connsiteY85" fmla="*/ 116188 h 361971"/>
                <a:gd name="connsiteX86" fmla="*/ 218536 w 362312"/>
                <a:gd name="connsiteY86" fmla="*/ 116188 h 361971"/>
                <a:gd name="connsiteX87" fmla="*/ 212146 w 362312"/>
                <a:gd name="connsiteY87" fmla="*/ 109804 h 361971"/>
                <a:gd name="connsiteX88" fmla="*/ 218536 w 362312"/>
                <a:gd name="connsiteY88" fmla="*/ 103420 h 361971"/>
                <a:gd name="connsiteX89" fmla="*/ 287547 w 362312"/>
                <a:gd name="connsiteY89" fmla="*/ 103420 h 361971"/>
                <a:gd name="connsiteX90" fmla="*/ 293937 w 362312"/>
                <a:gd name="connsiteY90" fmla="*/ 109804 h 361971"/>
                <a:gd name="connsiteX91" fmla="*/ 287547 w 362312"/>
                <a:gd name="connsiteY91" fmla="*/ 11618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362312" h="361971">
                  <a:moveTo>
                    <a:pt x="181474" y="0"/>
                  </a:moveTo>
                  <a:cubicBezTo>
                    <a:pt x="81152" y="0"/>
                    <a:pt x="0" y="81077"/>
                    <a:pt x="0" y="180667"/>
                  </a:cubicBezTo>
                  <a:cubicBezTo>
                    <a:pt x="0" y="280895"/>
                    <a:pt x="81152" y="361972"/>
                    <a:pt x="180836" y="361972"/>
                  </a:cubicBezTo>
                  <a:cubicBezTo>
                    <a:pt x="281157" y="361972"/>
                    <a:pt x="362309" y="280895"/>
                    <a:pt x="362309" y="181305"/>
                  </a:cubicBezTo>
                  <a:cubicBezTo>
                    <a:pt x="362309" y="181305"/>
                    <a:pt x="362309" y="181305"/>
                    <a:pt x="362309" y="181305"/>
                  </a:cubicBezTo>
                  <a:cubicBezTo>
                    <a:pt x="362949" y="81077"/>
                    <a:pt x="281796" y="0"/>
                    <a:pt x="181474" y="0"/>
                  </a:cubicBezTo>
                  <a:close/>
                  <a:moveTo>
                    <a:pt x="108629" y="131510"/>
                  </a:moveTo>
                  <a:cubicBezTo>
                    <a:pt x="123326" y="131510"/>
                    <a:pt x="135466" y="143640"/>
                    <a:pt x="135466" y="158323"/>
                  </a:cubicBezTo>
                  <a:cubicBezTo>
                    <a:pt x="135466" y="173006"/>
                    <a:pt x="123326" y="185135"/>
                    <a:pt x="108629" y="185135"/>
                  </a:cubicBezTo>
                  <a:cubicBezTo>
                    <a:pt x="93932" y="185135"/>
                    <a:pt x="81792" y="173006"/>
                    <a:pt x="81792" y="158323"/>
                  </a:cubicBezTo>
                  <a:cubicBezTo>
                    <a:pt x="81792" y="158323"/>
                    <a:pt x="81792" y="158323"/>
                    <a:pt x="81792" y="158323"/>
                  </a:cubicBezTo>
                  <a:cubicBezTo>
                    <a:pt x="81792" y="143640"/>
                    <a:pt x="93293" y="131510"/>
                    <a:pt x="108629" y="131510"/>
                  </a:cubicBezTo>
                  <a:lnTo>
                    <a:pt x="108629" y="131510"/>
                  </a:lnTo>
                  <a:close/>
                  <a:moveTo>
                    <a:pt x="179557" y="207479"/>
                  </a:moveTo>
                  <a:cubicBezTo>
                    <a:pt x="178918" y="208118"/>
                    <a:pt x="178918" y="208756"/>
                    <a:pt x="178279" y="208756"/>
                  </a:cubicBezTo>
                  <a:lnTo>
                    <a:pt x="175084" y="211310"/>
                  </a:lnTo>
                  <a:lnTo>
                    <a:pt x="163582" y="254083"/>
                  </a:lnTo>
                  <a:cubicBezTo>
                    <a:pt x="162943" y="256636"/>
                    <a:pt x="160387" y="259190"/>
                    <a:pt x="157192" y="258551"/>
                  </a:cubicBezTo>
                  <a:cubicBezTo>
                    <a:pt x="156553" y="258551"/>
                    <a:pt x="155915" y="258551"/>
                    <a:pt x="155276" y="258551"/>
                  </a:cubicBezTo>
                  <a:cubicBezTo>
                    <a:pt x="152081" y="257913"/>
                    <a:pt x="150164" y="254083"/>
                    <a:pt x="150802" y="250891"/>
                  </a:cubicBezTo>
                  <a:lnTo>
                    <a:pt x="157831" y="225355"/>
                  </a:lnTo>
                  <a:lnTo>
                    <a:pt x="146330" y="254721"/>
                  </a:lnTo>
                  <a:cubicBezTo>
                    <a:pt x="145051" y="257913"/>
                    <a:pt x="141217" y="259828"/>
                    <a:pt x="138022" y="258551"/>
                  </a:cubicBezTo>
                  <a:cubicBezTo>
                    <a:pt x="135466" y="257913"/>
                    <a:pt x="133550" y="255359"/>
                    <a:pt x="133550" y="252806"/>
                  </a:cubicBezTo>
                  <a:lnTo>
                    <a:pt x="133550" y="216417"/>
                  </a:lnTo>
                  <a:cubicBezTo>
                    <a:pt x="133550" y="208756"/>
                    <a:pt x="127799" y="202372"/>
                    <a:pt x="120131" y="202372"/>
                  </a:cubicBezTo>
                  <a:cubicBezTo>
                    <a:pt x="120131" y="202372"/>
                    <a:pt x="120131" y="202372"/>
                    <a:pt x="120131" y="202372"/>
                  </a:cubicBezTo>
                  <a:lnTo>
                    <a:pt x="95849" y="202372"/>
                  </a:lnTo>
                  <a:cubicBezTo>
                    <a:pt x="88181" y="202372"/>
                    <a:pt x="81792" y="208118"/>
                    <a:pt x="81792" y="215779"/>
                  </a:cubicBezTo>
                  <a:cubicBezTo>
                    <a:pt x="81792" y="215779"/>
                    <a:pt x="81792" y="215779"/>
                    <a:pt x="81792" y="216417"/>
                  </a:cubicBezTo>
                  <a:lnTo>
                    <a:pt x="81792" y="252806"/>
                  </a:lnTo>
                  <a:cubicBezTo>
                    <a:pt x="81792" y="256636"/>
                    <a:pt x="79235" y="259190"/>
                    <a:pt x="75402" y="259190"/>
                  </a:cubicBezTo>
                  <a:cubicBezTo>
                    <a:pt x="71567" y="259190"/>
                    <a:pt x="69012" y="256636"/>
                    <a:pt x="69012" y="252806"/>
                  </a:cubicBezTo>
                  <a:lnTo>
                    <a:pt x="69012" y="216417"/>
                  </a:lnTo>
                  <a:cubicBezTo>
                    <a:pt x="69012" y="201734"/>
                    <a:pt x="80513" y="189604"/>
                    <a:pt x="95210" y="189604"/>
                  </a:cubicBezTo>
                  <a:cubicBezTo>
                    <a:pt x="95210" y="189604"/>
                    <a:pt x="95849" y="189604"/>
                    <a:pt x="95849" y="189604"/>
                  </a:cubicBezTo>
                  <a:lnTo>
                    <a:pt x="120131" y="189604"/>
                  </a:lnTo>
                  <a:cubicBezTo>
                    <a:pt x="134828" y="189604"/>
                    <a:pt x="146969" y="201095"/>
                    <a:pt x="146969" y="215779"/>
                  </a:cubicBezTo>
                  <a:cubicBezTo>
                    <a:pt x="146969" y="215779"/>
                    <a:pt x="146969" y="216417"/>
                    <a:pt x="146969" y="216417"/>
                  </a:cubicBezTo>
                  <a:lnTo>
                    <a:pt x="146969" y="218332"/>
                  </a:lnTo>
                  <a:lnTo>
                    <a:pt x="152720" y="203011"/>
                  </a:lnTo>
                  <a:cubicBezTo>
                    <a:pt x="154636" y="197903"/>
                    <a:pt x="159110" y="194711"/>
                    <a:pt x="164221" y="192796"/>
                  </a:cubicBezTo>
                  <a:lnTo>
                    <a:pt x="167416" y="192158"/>
                  </a:lnTo>
                  <a:cubicBezTo>
                    <a:pt x="172528" y="190881"/>
                    <a:pt x="177001" y="192796"/>
                    <a:pt x="180196" y="197265"/>
                  </a:cubicBezTo>
                  <a:cubicBezTo>
                    <a:pt x="182113" y="199819"/>
                    <a:pt x="182113" y="204287"/>
                    <a:pt x="179557" y="207479"/>
                  </a:cubicBezTo>
                  <a:lnTo>
                    <a:pt x="179557" y="207479"/>
                  </a:lnTo>
                  <a:close/>
                  <a:moveTo>
                    <a:pt x="200005" y="182582"/>
                  </a:moveTo>
                  <a:cubicBezTo>
                    <a:pt x="200005" y="186412"/>
                    <a:pt x="197449" y="188966"/>
                    <a:pt x="193615" y="188966"/>
                  </a:cubicBezTo>
                  <a:lnTo>
                    <a:pt x="173167" y="188966"/>
                  </a:lnTo>
                  <a:cubicBezTo>
                    <a:pt x="169333" y="188966"/>
                    <a:pt x="166777" y="186412"/>
                    <a:pt x="166777" y="182582"/>
                  </a:cubicBezTo>
                  <a:lnTo>
                    <a:pt x="166777" y="162153"/>
                  </a:lnTo>
                  <a:cubicBezTo>
                    <a:pt x="166777" y="158323"/>
                    <a:pt x="169333" y="155769"/>
                    <a:pt x="173167" y="155769"/>
                  </a:cubicBezTo>
                  <a:lnTo>
                    <a:pt x="193615" y="155769"/>
                  </a:lnTo>
                  <a:cubicBezTo>
                    <a:pt x="197449" y="155769"/>
                    <a:pt x="200005" y="158323"/>
                    <a:pt x="200005" y="162153"/>
                  </a:cubicBezTo>
                  <a:lnTo>
                    <a:pt x="200005" y="182582"/>
                  </a:lnTo>
                  <a:close/>
                  <a:moveTo>
                    <a:pt x="200005" y="130233"/>
                  </a:moveTo>
                  <a:cubicBezTo>
                    <a:pt x="200005" y="134064"/>
                    <a:pt x="197449" y="136617"/>
                    <a:pt x="193615" y="136617"/>
                  </a:cubicBezTo>
                  <a:lnTo>
                    <a:pt x="173167" y="136617"/>
                  </a:lnTo>
                  <a:cubicBezTo>
                    <a:pt x="169333" y="136617"/>
                    <a:pt x="166777" y="134064"/>
                    <a:pt x="166777" y="130233"/>
                  </a:cubicBezTo>
                  <a:lnTo>
                    <a:pt x="166777" y="109804"/>
                  </a:lnTo>
                  <a:cubicBezTo>
                    <a:pt x="166777" y="105974"/>
                    <a:pt x="169333" y="103420"/>
                    <a:pt x="173167" y="103420"/>
                  </a:cubicBezTo>
                  <a:lnTo>
                    <a:pt x="193615" y="103420"/>
                  </a:lnTo>
                  <a:cubicBezTo>
                    <a:pt x="197449" y="103420"/>
                    <a:pt x="200005" y="105974"/>
                    <a:pt x="200005" y="109804"/>
                  </a:cubicBezTo>
                  <a:lnTo>
                    <a:pt x="200005" y="130233"/>
                  </a:lnTo>
                  <a:close/>
                  <a:moveTo>
                    <a:pt x="287547" y="188966"/>
                  </a:moveTo>
                  <a:lnTo>
                    <a:pt x="218536" y="188966"/>
                  </a:lnTo>
                  <a:cubicBezTo>
                    <a:pt x="214702" y="188966"/>
                    <a:pt x="212146" y="186412"/>
                    <a:pt x="212146" y="182582"/>
                  </a:cubicBezTo>
                  <a:cubicBezTo>
                    <a:pt x="212146" y="178752"/>
                    <a:pt x="214702" y="176198"/>
                    <a:pt x="218536" y="176198"/>
                  </a:cubicBezTo>
                  <a:lnTo>
                    <a:pt x="287547" y="176198"/>
                  </a:lnTo>
                  <a:cubicBezTo>
                    <a:pt x="291381" y="176198"/>
                    <a:pt x="293937" y="178752"/>
                    <a:pt x="293937" y="182582"/>
                  </a:cubicBezTo>
                  <a:cubicBezTo>
                    <a:pt x="293937" y="186412"/>
                    <a:pt x="290742" y="188966"/>
                    <a:pt x="287547" y="188966"/>
                  </a:cubicBezTo>
                  <a:close/>
                  <a:moveTo>
                    <a:pt x="287547" y="169176"/>
                  </a:moveTo>
                  <a:lnTo>
                    <a:pt x="218536" y="169176"/>
                  </a:lnTo>
                  <a:cubicBezTo>
                    <a:pt x="214702" y="169176"/>
                    <a:pt x="212146" y="166622"/>
                    <a:pt x="212146" y="162792"/>
                  </a:cubicBezTo>
                  <a:cubicBezTo>
                    <a:pt x="212146" y="158961"/>
                    <a:pt x="214702" y="156408"/>
                    <a:pt x="218536" y="156408"/>
                  </a:cubicBezTo>
                  <a:lnTo>
                    <a:pt x="287547" y="156408"/>
                  </a:lnTo>
                  <a:cubicBezTo>
                    <a:pt x="291381" y="156408"/>
                    <a:pt x="293937" y="158961"/>
                    <a:pt x="293937" y="162792"/>
                  </a:cubicBezTo>
                  <a:cubicBezTo>
                    <a:pt x="293937" y="166622"/>
                    <a:pt x="290742" y="169176"/>
                    <a:pt x="287547" y="169176"/>
                  </a:cubicBezTo>
                  <a:close/>
                  <a:moveTo>
                    <a:pt x="287547" y="136617"/>
                  </a:moveTo>
                  <a:lnTo>
                    <a:pt x="218536" y="136617"/>
                  </a:lnTo>
                  <a:cubicBezTo>
                    <a:pt x="214702" y="136617"/>
                    <a:pt x="212146" y="134064"/>
                    <a:pt x="212146" y="130233"/>
                  </a:cubicBezTo>
                  <a:cubicBezTo>
                    <a:pt x="212146" y="126403"/>
                    <a:pt x="214702" y="123849"/>
                    <a:pt x="218536" y="123849"/>
                  </a:cubicBezTo>
                  <a:lnTo>
                    <a:pt x="287547" y="123849"/>
                  </a:lnTo>
                  <a:cubicBezTo>
                    <a:pt x="291381" y="123849"/>
                    <a:pt x="293937" y="126403"/>
                    <a:pt x="293937" y="130233"/>
                  </a:cubicBezTo>
                  <a:cubicBezTo>
                    <a:pt x="293937" y="134064"/>
                    <a:pt x="290742" y="136617"/>
                    <a:pt x="287547" y="136617"/>
                  </a:cubicBezTo>
                  <a:close/>
                  <a:moveTo>
                    <a:pt x="287547" y="116188"/>
                  </a:moveTo>
                  <a:lnTo>
                    <a:pt x="218536" y="116188"/>
                  </a:lnTo>
                  <a:cubicBezTo>
                    <a:pt x="214702" y="116188"/>
                    <a:pt x="212146" y="113635"/>
                    <a:pt x="212146" y="109804"/>
                  </a:cubicBezTo>
                  <a:cubicBezTo>
                    <a:pt x="212146" y="105974"/>
                    <a:pt x="214702" y="103420"/>
                    <a:pt x="218536" y="103420"/>
                  </a:cubicBezTo>
                  <a:lnTo>
                    <a:pt x="287547" y="103420"/>
                  </a:lnTo>
                  <a:cubicBezTo>
                    <a:pt x="291381" y="103420"/>
                    <a:pt x="293937" y="105974"/>
                    <a:pt x="293937" y="109804"/>
                  </a:cubicBezTo>
                  <a:cubicBezTo>
                    <a:pt x="293937" y="113635"/>
                    <a:pt x="290742" y="116188"/>
                    <a:pt x="287547" y="11618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7" name="Graphic 4">
              <a:extLst>
                <a:ext uri="{FF2B5EF4-FFF2-40B4-BE49-F238E27FC236}">
                  <a16:creationId xmlns:a16="http://schemas.microsoft.com/office/drawing/2014/main" id="{B690DF68-DBE9-43C9-A531-5B17DE6B3EFD}"/>
                </a:ext>
              </a:extLst>
            </p:cNvPr>
            <p:cNvSpPr/>
            <p:nvPr/>
          </p:nvSpPr>
          <p:spPr>
            <a:xfrm>
              <a:off x="10204242" y="4442570"/>
              <a:ext cx="15495" cy="15480"/>
            </a:xfrm>
            <a:custGeom>
              <a:avLst/>
              <a:gdLst>
                <a:gd name="connsiteX0" fmla="*/ 0 w 7667"/>
                <a:gd name="connsiteY0" fmla="*/ 0 h 7660"/>
                <a:gd name="connsiteX1" fmla="*/ 7667 w 7667"/>
                <a:gd name="connsiteY1" fmla="*/ 0 h 7660"/>
                <a:gd name="connsiteX2" fmla="*/ 7667 w 7667"/>
                <a:gd name="connsiteY2" fmla="*/ 7661 h 7660"/>
                <a:gd name="connsiteX3" fmla="*/ 0 w 7667"/>
                <a:gd name="connsiteY3" fmla="*/ 7661 h 7660"/>
              </a:gdLst>
              <a:ahLst/>
              <a:cxnLst>
                <a:cxn ang="0">
                  <a:pos x="connsiteX0" y="connsiteY0"/>
                </a:cxn>
                <a:cxn ang="0">
                  <a:pos x="connsiteX1" y="connsiteY1"/>
                </a:cxn>
                <a:cxn ang="0">
                  <a:pos x="connsiteX2" y="connsiteY2"/>
                </a:cxn>
                <a:cxn ang="0">
                  <a:pos x="connsiteX3" y="connsiteY3"/>
                </a:cxn>
              </a:cxnLst>
              <a:rect l="l" t="t" r="r" b="b"/>
              <a:pathLst>
                <a:path w="7667" h="7660">
                  <a:moveTo>
                    <a:pt x="0" y="0"/>
                  </a:moveTo>
                  <a:lnTo>
                    <a:pt x="7667" y="0"/>
                  </a:lnTo>
                  <a:lnTo>
                    <a:pt x="7667" y="7661"/>
                  </a:lnTo>
                  <a:lnTo>
                    <a:pt x="0" y="7661"/>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18" name="Group 217">
            <a:extLst>
              <a:ext uri="{FF2B5EF4-FFF2-40B4-BE49-F238E27FC236}">
                <a16:creationId xmlns:a16="http://schemas.microsoft.com/office/drawing/2014/main" id="{6A77AD76-3781-4E3E-9F16-90A3B39A4E34}"/>
              </a:ext>
            </a:extLst>
          </p:cNvPr>
          <p:cNvGrpSpPr/>
          <p:nvPr/>
        </p:nvGrpSpPr>
        <p:grpSpPr>
          <a:xfrm>
            <a:off x="5736335" y="4335559"/>
            <a:ext cx="581372" cy="580827"/>
            <a:chOff x="7690740" y="4207762"/>
            <a:chExt cx="732206" cy="731520"/>
          </a:xfrm>
          <a:solidFill>
            <a:schemeClr val="accent4"/>
          </a:solidFill>
        </p:grpSpPr>
        <p:sp>
          <p:nvSpPr>
            <p:cNvPr id="219" name="Graphic 4">
              <a:extLst>
                <a:ext uri="{FF2B5EF4-FFF2-40B4-BE49-F238E27FC236}">
                  <a16:creationId xmlns:a16="http://schemas.microsoft.com/office/drawing/2014/main" id="{0AC7F70B-AFB4-4F75-BFEB-FEC6BC3A2106}"/>
                </a:ext>
              </a:extLst>
            </p:cNvPr>
            <p:cNvSpPr/>
            <p:nvPr/>
          </p:nvSpPr>
          <p:spPr>
            <a:xfrm>
              <a:off x="7989045" y="4479986"/>
              <a:ext cx="134342" cy="188363"/>
            </a:xfrm>
            <a:custGeom>
              <a:avLst/>
              <a:gdLst>
                <a:gd name="connsiteX0" fmla="*/ 33867 w 66475"/>
                <a:gd name="connsiteY0" fmla="*/ 0 h 93206"/>
                <a:gd name="connsiteX1" fmla="*/ 33867 w 66475"/>
                <a:gd name="connsiteY1" fmla="*/ 0 h 93206"/>
                <a:gd name="connsiteX2" fmla="*/ 0 w 66475"/>
                <a:gd name="connsiteY2" fmla="*/ 33197 h 93206"/>
                <a:gd name="connsiteX3" fmla="*/ 4473 w 66475"/>
                <a:gd name="connsiteY3" fmla="*/ 49795 h 93206"/>
                <a:gd name="connsiteX4" fmla="*/ 33228 w 66475"/>
                <a:gd name="connsiteY4" fmla="*/ 93206 h 93206"/>
                <a:gd name="connsiteX5" fmla="*/ 61982 w 66475"/>
                <a:gd name="connsiteY5" fmla="*/ 49157 h 93206"/>
                <a:gd name="connsiteX6" fmla="*/ 66455 w 66475"/>
                <a:gd name="connsiteY6" fmla="*/ 32558 h 93206"/>
                <a:gd name="connsiteX7" fmla="*/ 33867 w 66475"/>
                <a:gd name="connsiteY7" fmla="*/ 0 h 93206"/>
                <a:gd name="connsiteX8" fmla="*/ 33867 w 66475"/>
                <a:gd name="connsiteY8" fmla="*/ 58094 h 93206"/>
                <a:gd name="connsiteX9" fmla="*/ 9585 w 66475"/>
                <a:gd name="connsiteY9" fmla="*/ 33835 h 93206"/>
                <a:gd name="connsiteX10" fmla="*/ 33867 w 66475"/>
                <a:gd name="connsiteY10" fmla="*/ 9576 h 93206"/>
                <a:gd name="connsiteX11" fmla="*/ 58148 w 66475"/>
                <a:gd name="connsiteY11" fmla="*/ 33835 h 93206"/>
                <a:gd name="connsiteX12" fmla="*/ 58148 w 66475"/>
                <a:gd name="connsiteY12" fmla="*/ 33835 h 93206"/>
                <a:gd name="connsiteX13" fmla="*/ 33867 w 66475"/>
                <a:gd name="connsiteY13" fmla="*/ 58094 h 93206"/>
                <a:gd name="connsiteX14" fmla="*/ 33867 w 66475"/>
                <a:gd name="connsiteY14" fmla="*/ 58094 h 93206"/>
                <a:gd name="connsiteX15" fmla="*/ 33867 w 66475"/>
                <a:gd name="connsiteY15" fmla="*/ 58094 h 9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475" h="93206">
                  <a:moveTo>
                    <a:pt x="33867" y="0"/>
                  </a:moveTo>
                  <a:lnTo>
                    <a:pt x="33867" y="0"/>
                  </a:lnTo>
                  <a:cubicBezTo>
                    <a:pt x="14697" y="0"/>
                    <a:pt x="0" y="15322"/>
                    <a:pt x="0" y="33197"/>
                  </a:cubicBezTo>
                  <a:cubicBezTo>
                    <a:pt x="0" y="38942"/>
                    <a:pt x="1278" y="44688"/>
                    <a:pt x="4473" y="49795"/>
                  </a:cubicBezTo>
                  <a:lnTo>
                    <a:pt x="33228" y="93206"/>
                  </a:lnTo>
                  <a:lnTo>
                    <a:pt x="61982" y="49157"/>
                  </a:lnTo>
                  <a:cubicBezTo>
                    <a:pt x="65177" y="44050"/>
                    <a:pt x="66455" y="38304"/>
                    <a:pt x="66455" y="32558"/>
                  </a:cubicBezTo>
                  <a:cubicBezTo>
                    <a:pt x="67094" y="15322"/>
                    <a:pt x="52397" y="0"/>
                    <a:pt x="33867" y="0"/>
                  </a:cubicBezTo>
                  <a:close/>
                  <a:moveTo>
                    <a:pt x="33867" y="58094"/>
                  </a:moveTo>
                  <a:cubicBezTo>
                    <a:pt x="20448" y="58094"/>
                    <a:pt x="9585" y="47242"/>
                    <a:pt x="9585" y="33835"/>
                  </a:cubicBezTo>
                  <a:cubicBezTo>
                    <a:pt x="9585" y="20429"/>
                    <a:pt x="20448" y="9576"/>
                    <a:pt x="33867" y="9576"/>
                  </a:cubicBezTo>
                  <a:cubicBezTo>
                    <a:pt x="47285" y="9576"/>
                    <a:pt x="58148" y="20429"/>
                    <a:pt x="58148" y="33835"/>
                  </a:cubicBezTo>
                  <a:lnTo>
                    <a:pt x="58148" y="33835"/>
                  </a:lnTo>
                  <a:cubicBezTo>
                    <a:pt x="58787" y="47242"/>
                    <a:pt x="47925" y="58094"/>
                    <a:pt x="33867" y="58094"/>
                  </a:cubicBezTo>
                  <a:cubicBezTo>
                    <a:pt x="33867" y="58094"/>
                    <a:pt x="33867" y="58094"/>
                    <a:pt x="33867" y="58094"/>
                  </a:cubicBezTo>
                  <a:lnTo>
                    <a:pt x="33867" y="5809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0" name="Graphic 4">
              <a:extLst>
                <a:ext uri="{FF2B5EF4-FFF2-40B4-BE49-F238E27FC236}">
                  <a16:creationId xmlns:a16="http://schemas.microsoft.com/office/drawing/2014/main" id="{4D24352C-9A59-4BB1-8440-12BABE1C3E0C}"/>
                </a:ext>
              </a:extLst>
            </p:cNvPr>
            <p:cNvSpPr/>
            <p:nvPr/>
          </p:nvSpPr>
          <p:spPr>
            <a:xfrm>
              <a:off x="8034244" y="4523852"/>
              <a:ext cx="46488" cy="46445"/>
            </a:xfrm>
            <a:custGeom>
              <a:avLst/>
              <a:gdLst>
                <a:gd name="connsiteX0" fmla="*/ 11502 w 23003"/>
                <a:gd name="connsiteY0" fmla="*/ 0 h 22982"/>
                <a:gd name="connsiteX1" fmla="*/ 0 w 23003"/>
                <a:gd name="connsiteY1" fmla="*/ 11491 h 22982"/>
                <a:gd name="connsiteX2" fmla="*/ 11502 w 23003"/>
                <a:gd name="connsiteY2" fmla="*/ 22982 h 22982"/>
                <a:gd name="connsiteX3" fmla="*/ 23004 w 23003"/>
                <a:gd name="connsiteY3" fmla="*/ 11491 h 22982"/>
                <a:gd name="connsiteX4" fmla="*/ 23004 w 23003"/>
                <a:gd name="connsiteY4" fmla="*/ 11491 h 22982"/>
                <a:gd name="connsiteX5" fmla="*/ 11502 w 23003"/>
                <a:gd name="connsiteY5" fmla="*/ 0 h 22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03" h="22982">
                  <a:moveTo>
                    <a:pt x="11502" y="0"/>
                  </a:moveTo>
                  <a:cubicBezTo>
                    <a:pt x="5112" y="0"/>
                    <a:pt x="0" y="5107"/>
                    <a:pt x="0" y="11491"/>
                  </a:cubicBezTo>
                  <a:cubicBezTo>
                    <a:pt x="0" y="17875"/>
                    <a:pt x="5112" y="22982"/>
                    <a:pt x="11502" y="22982"/>
                  </a:cubicBezTo>
                  <a:cubicBezTo>
                    <a:pt x="17892" y="22982"/>
                    <a:pt x="23004" y="17875"/>
                    <a:pt x="23004" y="11491"/>
                  </a:cubicBezTo>
                  <a:lnTo>
                    <a:pt x="23004" y="11491"/>
                  </a:lnTo>
                  <a:cubicBezTo>
                    <a:pt x="23004" y="5107"/>
                    <a:pt x="17892" y="0"/>
                    <a:pt x="11502"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1" name="Graphic 4">
              <a:extLst>
                <a:ext uri="{FF2B5EF4-FFF2-40B4-BE49-F238E27FC236}">
                  <a16:creationId xmlns:a16="http://schemas.microsoft.com/office/drawing/2014/main" id="{0A47E0F0-4393-493E-B3E1-5B4DE35270B9}"/>
                </a:ext>
              </a:extLst>
            </p:cNvPr>
            <p:cNvSpPr/>
            <p:nvPr/>
          </p:nvSpPr>
          <p:spPr>
            <a:xfrm>
              <a:off x="7690740" y="4207762"/>
              <a:ext cx="732206" cy="731520"/>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09 w 362309"/>
                <a:gd name="connsiteY3" fmla="*/ 180667 h 361971"/>
                <a:gd name="connsiteX4" fmla="*/ 180835 w 362309"/>
                <a:gd name="connsiteY4" fmla="*/ 0 h 361971"/>
                <a:gd name="connsiteX5" fmla="*/ 180835 w 362309"/>
                <a:gd name="connsiteY5" fmla="*/ 0 h 361971"/>
                <a:gd name="connsiteX6" fmla="*/ 201922 w 362309"/>
                <a:gd name="connsiteY6" fmla="*/ 84268 h 361971"/>
                <a:gd name="connsiteX7" fmla="*/ 270294 w 362309"/>
                <a:gd name="connsiteY7" fmla="*/ 84268 h 361971"/>
                <a:gd name="connsiteX8" fmla="*/ 276684 w 362309"/>
                <a:gd name="connsiteY8" fmla="*/ 90652 h 361971"/>
                <a:gd name="connsiteX9" fmla="*/ 276684 w 362309"/>
                <a:gd name="connsiteY9" fmla="*/ 158961 h 361971"/>
                <a:gd name="connsiteX10" fmla="*/ 270294 w 362309"/>
                <a:gd name="connsiteY10" fmla="*/ 165345 h 361971"/>
                <a:gd name="connsiteX11" fmla="*/ 263904 w 362309"/>
                <a:gd name="connsiteY11" fmla="*/ 158961 h 361971"/>
                <a:gd name="connsiteX12" fmla="*/ 263904 w 362309"/>
                <a:gd name="connsiteY12" fmla="*/ 97036 h 361971"/>
                <a:gd name="connsiteX13" fmla="*/ 201922 w 362309"/>
                <a:gd name="connsiteY13" fmla="*/ 97036 h 361971"/>
                <a:gd name="connsiteX14" fmla="*/ 195532 w 362309"/>
                <a:gd name="connsiteY14" fmla="*/ 90652 h 361971"/>
                <a:gd name="connsiteX15" fmla="*/ 201922 w 362309"/>
                <a:gd name="connsiteY15" fmla="*/ 84268 h 361971"/>
                <a:gd name="connsiteX16" fmla="*/ 174445 w 362309"/>
                <a:gd name="connsiteY16" fmla="*/ 65755 h 361971"/>
                <a:gd name="connsiteX17" fmla="*/ 180835 w 362309"/>
                <a:gd name="connsiteY17" fmla="*/ 59371 h 361971"/>
                <a:gd name="connsiteX18" fmla="*/ 187225 w 362309"/>
                <a:gd name="connsiteY18" fmla="*/ 65755 h 361971"/>
                <a:gd name="connsiteX19" fmla="*/ 187225 w 362309"/>
                <a:gd name="connsiteY19" fmla="*/ 97675 h 361971"/>
                <a:gd name="connsiteX20" fmla="*/ 180835 w 362309"/>
                <a:gd name="connsiteY20" fmla="*/ 104059 h 361971"/>
                <a:gd name="connsiteX21" fmla="*/ 174445 w 362309"/>
                <a:gd name="connsiteY21" fmla="*/ 97675 h 361971"/>
                <a:gd name="connsiteX22" fmla="*/ 174445 w 362309"/>
                <a:gd name="connsiteY22" fmla="*/ 65755 h 361971"/>
                <a:gd name="connsiteX23" fmla="*/ 84986 w 362309"/>
                <a:gd name="connsiteY23" fmla="*/ 91291 h 361971"/>
                <a:gd name="connsiteX24" fmla="*/ 91376 w 362309"/>
                <a:gd name="connsiteY24" fmla="*/ 84907 h 361971"/>
                <a:gd name="connsiteX25" fmla="*/ 159748 w 362309"/>
                <a:gd name="connsiteY25" fmla="*/ 84907 h 361971"/>
                <a:gd name="connsiteX26" fmla="*/ 166138 w 362309"/>
                <a:gd name="connsiteY26" fmla="*/ 91291 h 361971"/>
                <a:gd name="connsiteX27" fmla="*/ 159748 w 362309"/>
                <a:gd name="connsiteY27" fmla="*/ 97675 h 361971"/>
                <a:gd name="connsiteX28" fmla="*/ 97766 w 362309"/>
                <a:gd name="connsiteY28" fmla="*/ 97675 h 361971"/>
                <a:gd name="connsiteX29" fmla="*/ 97766 w 362309"/>
                <a:gd name="connsiteY29" fmla="*/ 159600 h 361971"/>
                <a:gd name="connsiteX30" fmla="*/ 91376 w 362309"/>
                <a:gd name="connsiteY30" fmla="*/ 165984 h 361971"/>
                <a:gd name="connsiteX31" fmla="*/ 84986 w 362309"/>
                <a:gd name="connsiteY31" fmla="*/ 159600 h 361971"/>
                <a:gd name="connsiteX32" fmla="*/ 84986 w 362309"/>
                <a:gd name="connsiteY32" fmla="*/ 91291 h 361971"/>
                <a:gd name="connsiteX33" fmla="*/ 60065 w 362309"/>
                <a:gd name="connsiteY33" fmla="*/ 180667 h 361971"/>
                <a:gd name="connsiteX34" fmla="*/ 66455 w 362309"/>
                <a:gd name="connsiteY34" fmla="*/ 174283 h 361971"/>
                <a:gd name="connsiteX35" fmla="*/ 98405 w 362309"/>
                <a:gd name="connsiteY35" fmla="*/ 174283 h 361971"/>
                <a:gd name="connsiteX36" fmla="*/ 104795 w 362309"/>
                <a:gd name="connsiteY36" fmla="*/ 180667 h 361971"/>
                <a:gd name="connsiteX37" fmla="*/ 98405 w 362309"/>
                <a:gd name="connsiteY37" fmla="*/ 187051 h 361971"/>
                <a:gd name="connsiteX38" fmla="*/ 66455 w 362309"/>
                <a:gd name="connsiteY38" fmla="*/ 187051 h 361971"/>
                <a:gd name="connsiteX39" fmla="*/ 60065 w 362309"/>
                <a:gd name="connsiteY39" fmla="*/ 180667 h 361971"/>
                <a:gd name="connsiteX40" fmla="*/ 159748 w 362309"/>
                <a:gd name="connsiteY40" fmla="*/ 276426 h 361971"/>
                <a:gd name="connsiteX41" fmla="*/ 91376 w 362309"/>
                <a:gd name="connsiteY41" fmla="*/ 276426 h 361971"/>
                <a:gd name="connsiteX42" fmla="*/ 84986 w 362309"/>
                <a:gd name="connsiteY42" fmla="*/ 270042 h 361971"/>
                <a:gd name="connsiteX43" fmla="*/ 84986 w 362309"/>
                <a:gd name="connsiteY43" fmla="*/ 201734 h 361971"/>
                <a:gd name="connsiteX44" fmla="*/ 91376 w 362309"/>
                <a:gd name="connsiteY44" fmla="*/ 195350 h 361971"/>
                <a:gd name="connsiteX45" fmla="*/ 97766 w 362309"/>
                <a:gd name="connsiteY45" fmla="*/ 201734 h 361971"/>
                <a:gd name="connsiteX46" fmla="*/ 97766 w 362309"/>
                <a:gd name="connsiteY46" fmla="*/ 263658 h 361971"/>
                <a:gd name="connsiteX47" fmla="*/ 159748 w 362309"/>
                <a:gd name="connsiteY47" fmla="*/ 263658 h 361971"/>
                <a:gd name="connsiteX48" fmla="*/ 166138 w 362309"/>
                <a:gd name="connsiteY48" fmla="*/ 270042 h 361971"/>
                <a:gd name="connsiteX49" fmla="*/ 159748 w 362309"/>
                <a:gd name="connsiteY49" fmla="*/ 276426 h 361971"/>
                <a:gd name="connsiteX50" fmla="*/ 159748 w 362309"/>
                <a:gd name="connsiteY50" fmla="*/ 276426 h 361971"/>
                <a:gd name="connsiteX51" fmla="*/ 188503 w 362309"/>
                <a:gd name="connsiteY51" fmla="*/ 296217 h 361971"/>
                <a:gd name="connsiteX52" fmla="*/ 182113 w 362309"/>
                <a:gd name="connsiteY52" fmla="*/ 302601 h 361971"/>
                <a:gd name="connsiteX53" fmla="*/ 175723 w 362309"/>
                <a:gd name="connsiteY53" fmla="*/ 296217 h 361971"/>
                <a:gd name="connsiteX54" fmla="*/ 175723 w 362309"/>
                <a:gd name="connsiteY54" fmla="*/ 264297 h 361971"/>
                <a:gd name="connsiteX55" fmla="*/ 182113 w 362309"/>
                <a:gd name="connsiteY55" fmla="*/ 257913 h 361971"/>
                <a:gd name="connsiteX56" fmla="*/ 188503 w 362309"/>
                <a:gd name="connsiteY56" fmla="*/ 264297 h 361971"/>
                <a:gd name="connsiteX57" fmla="*/ 188503 w 362309"/>
                <a:gd name="connsiteY57" fmla="*/ 296217 h 361971"/>
                <a:gd name="connsiteX58" fmla="*/ 182113 w 362309"/>
                <a:gd name="connsiteY58" fmla="*/ 243230 h 361971"/>
                <a:gd name="connsiteX59" fmla="*/ 182113 w 362309"/>
                <a:gd name="connsiteY59" fmla="*/ 243230 h 361971"/>
                <a:gd name="connsiteX60" fmla="*/ 173806 w 362309"/>
                <a:gd name="connsiteY60" fmla="*/ 238761 h 361971"/>
                <a:gd name="connsiteX61" fmla="*/ 142496 w 362309"/>
                <a:gd name="connsiteY61" fmla="*/ 191519 h 361971"/>
                <a:gd name="connsiteX62" fmla="*/ 136106 w 362309"/>
                <a:gd name="connsiteY62" fmla="*/ 167899 h 361971"/>
                <a:gd name="connsiteX63" fmla="*/ 182113 w 362309"/>
                <a:gd name="connsiteY63" fmla="*/ 121934 h 361971"/>
                <a:gd name="connsiteX64" fmla="*/ 182113 w 362309"/>
                <a:gd name="connsiteY64" fmla="*/ 121934 h 361971"/>
                <a:gd name="connsiteX65" fmla="*/ 228121 w 362309"/>
                <a:gd name="connsiteY65" fmla="*/ 167899 h 361971"/>
                <a:gd name="connsiteX66" fmla="*/ 221731 w 362309"/>
                <a:gd name="connsiteY66" fmla="*/ 190881 h 361971"/>
                <a:gd name="connsiteX67" fmla="*/ 190420 w 362309"/>
                <a:gd name="connsiteY67" fmla="*/ 238122 h 361971"/>
                <a:gd name="connsiteX68" fmla="*/ 182113 w 362309"/>
                <a:gd name="connsiteY68" fmla="*/ 243230 h 361971"/>
                <a:gd name="connsiteX69" fmla="*/ 182113 w 362309"/>
                <a:gd name="connsiteY69" fmla="*/ 243230 h 361971"/>
                <a:gd name="connsiteX70" fmla="*/ 277323 w 362309"/>
                <a:gd name="connsiteY70" fmla="*/ 270042 h 361971"/>
                <a:gd name="connsiteX71" fmla="*/ 270933 w 362309"/>
                <a:gd name="connsiteY71" fmla="*/ 276426 h 361971"/>
                <a:gd name="connsiteX72" fmla="*/ 202561 w 362309"/>
                <a:gd name="connsiteY72" fmla="*/ 276426 h 361971"/>
                <a:gd name="connsiteX73" fmla="*/ 196171 w 362309"/>
                <a:gd name="connsiteY73" fmla="*/ 270042 h 361971"/>
                <a:gd name="connsiteX74" fmla="*/ 202561 w 362309"/>
                <a:gd name="connsiteY74" fmla="*/ 263658 h 361971"/>
                <a:gd name="connsiteX75" fmla="*/ 264543 w 362309"/>
                <a:gd name="connsiteY75" fmla="*/ 263658 h 361971"/>
                <a:gd name="connsiteX76" fmla="*/ 264543 w 362309"/>
                <a:gd name="connsiteY76" fmla="*/ 201734 h 361971"/>
                <a:gd name="connsiteX77" fmla="*/ 270933 w 362309"/>
                <a:gd name="connsiteY77" fmla="*/ 195350 h 361971"/>
                <a:gd name="connsiteX78" fmla="*/ 277323 w 362309"/>
                <a:gd name="connsiteY78" fmla="*/ 201734 h 361971"/>
                <a:gd name="connsiteX79" fmla="*/ 277323 w 362309"/>
                <a:gd name="connsiteY79" fmla="*/ 270042 h 361971"/>
                <a:gd name="connsiteX80" fmla="*/ 295854 w 362309"/>
                <a:gd name="connsiteY80" fmla="*/ 187051 h 361971"/>
                <a:gd name="connsiteX81" fmla="*/ 263904 w 362309"/>
                <a:gd name="connsiteY81" fmla="*/ 187051 h 361971"/>
                <a:gd name="connsiteX82" fmla="*/ 257514 w 362309"/>
                <a:gd name="connsiteY82" fmla="*/ 180667 h 361971"/>
                <a:gd name="connsiteX83" fmla="*/ 263904 w 362309"/>
                <a:gd name="connsiteY83" fmla="*/ 174283 h 361971"/>
                <a:gd name="connsiteX84" fmla="*/ 295854 w 362309"/>
                <a:gd name="connsiteY84" fmla="*/ 174283 h 361971"/>
                <a:gd name="connsiteX85" fmla="*/ 302244 w 362309"/>
                <a:gd name="connsiteY85" fmla="*/ 180667 h 361971"/>
                <a:gd name="connsiteX86" fmla="*/ 295854 w 362309"/>
                <a:gd name="connsiteY86" fmla="*/ 18705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2309" h="361971">
                  <a:moveTo>
                    <a:pt x="180835" y="0"/>
                  </a:moveTo>
                  <a:cubicBezTo>
                    <a:pt x="80513" y="0"/>
                    <a:pt x="0" y="81076"/>
                    <a:pt x="0" y="181305"/>
                  </a:cubicBezTo>
                  <a:cubicBezTo>
                    <a:pt x="0" y="281533"/>
                    <a:pt x="81152" y="361972"/>
                    <a:pt x="181474" y="361972"/>
                  </a:cubicBezTo>
                  <a:cubicBezTo>
                    <a:pt x="281157" y="361972"/>
                    <a:pt x="362309" y="280895"/>
                    <a:pt x="362309" y="180667"/>
                  </a:cubicBezTo>
                  <a:cubicBezTo>
                    <a:pt x="362309" y="80438"/>
                    <a:pt x="281157" y="0"/>
                    <a:pt x="180835" y="0"/>
                  </a:cubicBezTo>
                  <a:cubicBezTo>
                    <a:pt x="180835" y="0"/>
                    <a:pt x="180835" y="0"/>
                    <a:pt x="180835" y="0"/>
                  </a:cubicBezTo>
                  <a:close/>
                  <a:moveTo>
                    <a:pt x="201922" y="84268"/>
                  </a:moveTo>
                  <a:lnTo>
                    <a:pt x="270294" y="84268"/>
                  </a:lnTo>
                  <a:cubicBezTo>
                    <a:pt x="274128" y="84268"/>
                    <a:pt x="276684" y="86822"/>
                    <a:pt x="276684" y="90652"/>
                  </a:cubicBezTo>
                  <a:lnTo>
                    <a:pt x="276684" y="158961"/>
                  </a:lnTo>
                  <a:cubicBezTo>
                    <a:pt x="276684" y="162792"/>
                    <a:pt x="274128" y="165345"/>
                    <a:pt x="270294" y="165345"/>
                  </a:cubicBezTo>
                  <a:cubicBezTo>
                    <a:pt x="266460" y="165345"/>
                    <a:pt x="263904" y="162792"/>
                    <a:pt x="263904" y="158961"/>
                  </a:cubicBezTo>
                  <a:lnTo>
                    <a:pt x="263904" y="97036"/>
                  </a:lnTo>
                  <a:lnTo>
                    <a:pt x="201922" y="97036"/>
                  </a:lnTo>
                  <a:cubicBezTo>
                    <a:pt x="198088" y="97036"/>
                    <a:pt x="195532" y="94483"/>
                    <a:pt x="195532" y="90652"/>
                  </a:cubicBezTo>
                  <a:cubicBezTo>
                    <a:pt x="195532" y="86822"/>
                    <a:pt x="198088" y="84268"/>
                    <a:pt x="201922" y="84268"/>
                  </a:cubicBezTo>
                  <a:close/>
                  <a:moveTo>
                    <a:pt x="174445" y="65755"/>
                  </a:moveTo>
                  <a:cubicBezTo>
                    <a:pt x="174445" y="61925"/>
                    <a:pt x="177001" y="59371"/>
                    <a:pt x="180835" y="59371"/>
                  </a:cubicBezTo>
                  <a:cubicBezTo>
                    <a:pt x="184669" y="59371"/>
                    <a:pt x="187225" y="61925"/>
                    <a:pt x="187225" y="65755"/>
                  </a:cubicBezTo>
                  <a:lnTo>
                    <a:pt x="187225" y="97675"/>
                  </a:lnTo>
                  <a:cubicBezTo>
                    <a:pt x="187225" y="101505"/>
                    <a:pt x="184669" y="104059"/>
                    <a:pt x="180835" y="104059"/>
                  </a:cubicBezTo>
                  <a:cubicBezTo>
                    <a:pt x="177001" y="104059"/>
                    <a:pt x="174445" y="101505"/>
                    <a:pt x="174445" y="97675"/>
                  </a:cubicBezTo>
                  <a:lnTo>
                    <a:pt x="174445" y="65755"/>
                  </a:lnTo>
                  <a:close/>
                  <a:moveTo>
                    <a:pt x="84986" y="91291"/>
                  </a:moveTo>
                  <a:cubicBezTo>
                    <a:pt x="84986" y="87460"/>
                    <a:pt x="87542" y="84907"/>
                    <a:pt x="91376" y="84907"/>
                  </a:cubicBezTo>
                  <a:lnTo>
                    <a:pt x="159748" y="84907"/>
                  </a:lnTo>
                  <a:cubicBezTo>
                    <a:pt x="163582" y="84907"/>
                    <a:pt x="166138" y="87460"/>
                    <a:pt x="166138" y="91291"/>
                  </a:cubicBezTo>
                  <a:cubicBezTo>
                    <a:pt x="166138" y="95121"/>
                    <a:pt x="163582" y="97675"/>
                    <a:pt x="159748" y="97675"/>
                  </a:cubicBezTo>
                  <a:lnTo>
                    <a:pt x="97766" y="97675"/>
                  </a:lnTo>
                  <a:lnTo>
                    <a:pt x="97766" y="159600"/>
                  </a:lnTo>
                  <a:cubicBezTo>
                    <a:pt x="97766" y="163430"/>
                    <a:pt x="95210" y="165984"/>
                    <a:pt x="91376" y="165984"/>
                  </a:cubicBezTo>
                  <a:cubicBezTo>
                    <a:pt x="87542" y="165984"/>
                    <a:pt x="84986" y="163430"/>
                    <a:pt x="84986" y="159600"/>
                  </a:cubicBezTo>
                  <a:lnTo>
                    <a:pt x="84986" y="91291"/>
                  </a:lnTo>
                  <a:close/>
                  <a:moveTo>
                    <a:pt x="60065" y="180667"/>
                  </a:moveTo>
                  <a:cubicBezTo>
                    <a:pt x="60065" y="176836"/>
                    <a:pt x="62621" y="174283"/>
                    <a:pt x="66455" y="174283"/>
                  </a:cubicBezTo>
                  <a:lnTo>
                    <a:pt x="98405" y="174283"/>
                  </a:lnTo>
                  <a:cubicBezTo>
                    <a:pt x="102239" y="174283"/>
                    <a:pt x="104795" y="176836"/>
                    <a:pt x="104795" y="180667"/>
                  </a:cubicBezTo>
                  <a:cubicBezTo>
                    <a:pt x="104795" y="184497"/>
                    <a:pt x="102239" y="187051"/>
                    <a:pt x="98405" y="187051"/>
                  </a:cubicBezTo>
                  <a:lnTo>
                    <a:pt x="66455" y="187051"/>
                  </a:lnTo>
                  <a:cubicBezTo>
                    <a:pt x="63260" y="187051"/>
                    <a:pt x="60065" y="184497"/>
                    <a:pt x="60065" y="180667"/>
                  </a:cubicBezTo>
                  <a:close/>
                  <a:moveTo>
                    <a:pt x="159748" y="276426"/>
                  </a:moveTo>
                  <a:lnTo>
                    <a:pt x="91376" y="276426"/>
                  </a:lnTo>
                  <a:cubicBezTo>
                    <a:pt x="87542" y="276426"/>
                    <a:pt x="84986" y="273873"/>
                    <a:pt x="84986" y="270042"/>
                  </a:cubicBezTo>
                  <a:lnTo>
                    <a:pt x="84986" y="201734"/>
                  </a:lnTo>
                  <a:cubicBezTo>
                    <a:pt x="84986" y="197903"/>
                    <a:pt x="87542" y="195350"/>
                    <a:pt x="91376" y="195350"/>
                  </a:cubicBezTo>
                  <a:cubicBezTo>
                    <a:pt x="95210" y="195350"/>
                    <a:pt x="97766" y="197903"/>
                    <a:pt x="97766" y="201734"/>
                  </a:cubicBezTo>
                  <a:lnTo>
                    <a:pt x="97766" y="263658"/>
                  </a:lnTo>
                  <a:lnTo>
                    <a:pt x="159748" y="263658"/>
                  </a:lnTo>
                  <a:cubicBezTo>
                    <a:pt x="163582" y="263658"/>
                    <a:pt x="166138" y="266212"/>
                    <a:pt x="166138" y="270042"/>
                  </a:cubicBezTo>
                  <a:cubicBezTo>
                    <a:pt x="166138" y="273873"/>
                    <a:pt x="163582" y="276426"/>
                    <a:pt x="159748" y="276426"/>
                  </a:cubicBezTo>
                  <a:lnTo>
                    <a:pt x="159748" y="276426"/>
                  </a:lnTo>
                  <a:close/>
                  <a:moveTo>
                    <a:pt x="188503" y="296217"/>
                  </a:moveTo>
                  <a:cubicBezTo>
                    <a:pt x="188503" y="300047"/>
                    <a:pt x="185947" y="302601"/>
                    <a:pt x="182113" y="302601"/>
                  </a:cubicBezTo>
                  <a:cubicBezTo>
                    <a:pt x="178279" y="302601"/>
                    <a:pt x="175723" y="300047"/>
                    <a:pt x="175723" y="296217"/>
                  </a:cubicBezTo>
                  <a:lnTo>
                    <a:pt x="175723" y="264297"/>
                  </a:lnTo>
                  <a:cubicBezTo>
                    <a:pt x="175723" y="260466"/>
                    <a:pt x="178279" y="257913"/>
                    <a:pt x="182113" y="257913"/>
                  </a:cubicBezTo>
                  <a:cubicBezTo>
                    <a:pt x="185947" y="257913"/>
                    <a:pt x="188503" y="260466"/>
                    <a:pt x="188503" y="264297"/>
                  </a:cubicBezTo>
                  <a:lnTo>
                    <a:pt x="188503" y="296217"/>
                  </a:lnTo>
                  <a:close/>
                  <a:moveTo>
                    <a:pt x="182113" y="243230"/>
                  </a:moveTo>
                  <a:lnTo>
                    <a:pt x="182113" y="243230"/>
                  </a:lnTo>
                  <a:cubicBezTo>
                    <a:pt x="178918" y="243230"/>
                    <a:pt x="175723" y="241314"/>
                    <a:pt x="173806" y="238761"/>
                  </a:cubicBezTo>
                  <a:lnTo>
                    <a:pt x="142496" y="191519"/>
                  </a:lnTo>
                  <a:cubicBezTo>
                    <a:pt x="138023" y="184497"/>
                    <a:pt x="136106" y="176198"/>
                    <a:pt x="136106" y="167899"/>
                  </a:cubicBezTo>
                  <a:cubicBezTo>
                    <a:pt x="136106" y="142363"/>
                    <a:pt x="156553" y="121934"/>
                    <a:pt x="182113" y="121934"/>
                  </a:cubicBezTo>
                  <a:lnTo>
                    <a:pt x="182113" y="121934"/>
                  </a:lnTo>
                  <a:cubicBezTo>
                    <a:pt x="207673" y="121934"/>
                    <a:pt x="228121" y="142363"/>
                    <a:pt x="228121" y="167899"/>
                  </a:cubicBezTo>
                  <a:cubicBezTo>
                    <a:pt x="228121" y="176198"/>
                    <a:pt x="226204" y="183859"/>
                    <a:pt x="221731" y="190881"/>
                  </a:cubicBezTo>
                  <a:lnTo>
                    <a:pt x="190420" y="238122"/>
                  </a:lnTo>
                  <a:cubicBezTo>
                    <a:pt x="188503" y="241953"/>
                    <a:pt x="185308" y="243230"/>
                    <a:pt x="182113" y="243230"/>
                  </a:cubicBezTo>
                  <a:lnTo>
                    <a:pt x="182113" y="243230"/>
                  </a:lnTo>
                  <a:close/>
                  <a:moveTo>
                    <a:pt x="277323" y="270042"/>
                  </a:moveTo>
                  <a:cubicBezTo>
                    <a:pt x="277323" y="273873"/>
                    <a:pt x="274767" y="276426"/>
                    <a:pt x="270933" y="276426"/>
                  </a:cubicBezTo>
                  <a:lnTo>
                    <a:pt x="202561" y="276426"/>
                  </a:lnTo>
                  <a:cubicBezTo>
                    <a:pt x="198727" y="276426"/>
                    <a:pt x="196171" y="273873"/>
                    <a:pt x="196171" y="270042"/>
                  </a:cubicBezTo>
                  <a:cubicBezTo>
                    <a:pt x="196171" y="266212"/>
                    <a:pt x="198727" y="263658"/>
                    <a:pt x="202561" y="263658"/>
                  </a:cubicBezTo>
                  <a:lnTo>
                    <a:pt x="264543" y="263658"/>
                  </a:lnTo>
                  <a:lnTo>
                    <a:pt x="264543" y="201734"/>
                  </a:lnTo>
                  <a:cubicBezTo>
                    <a:pt x="264543" y="197903"/>
                    <a:pt x="267099" y="195350"/>
                    <a:pt x="270933" y="195350"/>
                  </a:cubicBezTo>
                  <a:cubicBezTo>
                    <a:pt x="274767" y="195350"/>
                    <a:pt x="277323" y="197903"/>
                    <a:pt x="277323" y="201734"/>
                  </a:cubicBezTo>
                  <a:lnTo>
                    <a:pt x="277323" y="270042"/>
                  </a:lnTo>
                  <a:close/>
                  <a:moveTo>
                    <a:pt x="295854" y="187051"/>
                  </a:moveTo>
                  <a:lnTo>
                    <a:pt x="263904" y="187051"/>
                  </a:lnTo>
                  <a:cubicBezTo>
                    <a:pt x="260070" y="187051"/>
                    <a:pt x="257514" y="184497"/>
                    <a:pt x="257514" y="180667"/>
                  </a:cubicBezTo>
                  <a:cubicBezTo>
                    <a:pt x="257514" y="176836"/>
                    <a:pt x="260070" y="174283"/>
                    <a:pt x="263904" y="174283"/>
                  </a:cubicBezTo>
                  <a:lnTo>
                    <a:pt x="295854" y="174283"/>
                  </a:lnTo>
                  <a:cubicBezTo>
                    <a:pt x="299688" y="174283"/>
                    <a:pt x="302244" y="176836"/>
                    <a:pt x="302244" y="180667"/>
                  </a:cubicBezTo>
                  <a:cubicBezTo>
                    <a:pt x="302244" y="184497"/>
                    <a:pt x="299688" y="187051"/>
                    <a:pt x="295854" y="18705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22" name="Group 221">
            <a:extLst>
              <a:ext uri="{FF2B5EF4-FFF2-40B4-BE49-F238E27FC236}">
                <a16:creationId xmlns:a16="http://schemas.microsoft.com/office/drawing/2014/main" id="{1DCEA5D4-813B-4502-A0B3-7C7A12E11522}"/>
              </a:ext>
            </a:extLst>
          </p:cNvPr>
          <p:cNvGrpSpPr/>
          <p:nvPr/>
        </p:nvGrpSpPr>
        <p:grpSpPr>
          <a:xfrm>
            <a:off x="5736335" y="2064449"/>
            <a:ext cx="580827" cy="580827"/>
            <a:chOff x="7653365" y="2197772"/>
            <a:chExt cx="731520" cy="731520"/>
          </a:xfrm>
          <a:solidFill>
            <a:schemeClr val="accent4"/>
          </a:solidFill>
        </p:grpSpPr>
        <p:sp>
          <p:nvSpPr>
            <p:cNvPr id="223" name="Graphic 4">
              <a:extLst>
                <a:ext uri="{FF2B5EF4-FFF2-40B4-BE49-F238E27FC236}">
                  <a16:creationId xmlns:a16="http://schemas.microsoft.com/office/drawing/2014/main" id="{8023C4D1-DB3D-4775-A415-6254102CB7DD}"/>
                </a:ext>
              </a:extLst>
            </p:cNvPr>
            <p:cNvSpPr/>
            <p:nvPr/>
          </p:nvSpPr>
          <p:spPr>
            <a:xfrm>
              <a:off x="7808457" y="2421364"/>
              <a:ext cx="23262" cy="23264"/>
            </a:xfrm>
            <a:custGeom>
              <a:avLst/>
              <a:gdLst>
                <a:gd name="connsiteX0" fmla="*/ 5751 w 11501"/>
                <a:gd name="connsiteY0" fmla="*/ 11491 h 11491"/>
                <a:gd name="connsiteX1" fmla="*/ 11502 w 11501"/>
                <a:gd name="connsiteY1" fmla="*/ 5746 h 11491"/>
                <a:gd name="connsiteX2" fmla="*/ 5751 w 11501"/>
                <a:gd name="connsiteY2" fmla="*/ 0 h 11491"/>
                <a:gd name="connsiteX3" fmla="*/ 0 w 11501"/>
                <a:gd name="connsiteY3" fmla="*/ 5746 h 11491"/>
                <a:gd name="connsiteX4" fmla="*/ 5751 w 11501"/>
                <a:gd name="connsiteY4" fmla="*/ 11491 h 11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1" h="11491">
                  <a:moveTo>
                    <a:pt x="5751" y="11491"/>
                  </a:moveTo>
                  <a:cubicBezTo>
                    <a:pt x="8946" y="11491"/>
                    <a:pt x="11502" y="8938"/>
                    <a:pt x="11502" y="5746"/>
                  </a:cubicBezTo>
                  <a:cubicBezTo>
                    <a:pt x="11502" y="2554"/>
                    <a:pt x="8946" y="0"/>
                    <a:pt x="5751" y="0"/>
                  </a:cubicBezTo>
                  <a:cubicBezTo>
                    <a:pt x="2556" y="0"/>
                    <a:pt x="0" y="2554"/>
                    <a:pt x="0" y="5746"/>
                  </a:cubicBezTo>
                  <a:cubicBezTo>
                    <a:pt x="0" y="8938"/>
                    <a:pt x="2556" y="11491"/>
                    <a:pt x="5751" y="1149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4" name="Graphic 4">
              <a:extLst>
                <a:ext uri="{FF2B5EF4-FFF2-40B4-BE49-F238E27FC236}">
                  <a16:creationId xmlns:a16="http://schemas.microsoft.com/office/drawing/2014/main" id="{3CA06B15-1232-420A-AB9A-53CA7757BFE6}"/>
                </a:ext>
              </a:extLst>
            </p:cNvPr>
            <p:cNvSpPr/>
            <p:nvPr/>
          </p:nvSpPr>
          <p:spPr>
            <a:xfrm>
              <a:off x="7796825" y="2519589"/>
              <a:ext cx="45234" cy="98225"/>
            </a:xfrm>
            <a:custGeom>
              <a:avLst/>
              <a:gdLst>
                <a:gd name="connsiteX0" fmla="*/ 12141 w 22364"/>
                <a:gd name="connsiteY0" fmla="*/ 0 h 48518"/>
                <a:gd name="connsiteX1" fmla="*/ 10224 w 22364"/>
                <a:gd name="connsiteY1" fmla="*/ 0 h 48518"/>
                <a:gd name="connsiteX2" fmla="*/ 0 w 22364"/>
                <a:gd name="connsiteY2" fmla="*/ 48518 h 48518"/>
                <a:gd name="connsiteX3" fmla="*/ 22365 w 22364"/>
                <a:gd name="connsiteY3" fmla="*/ 48518 h 48518"/>
              </a:gdLst>
              <a:ahLst/>
              <a:cxnLst>
                <a:cxn ang="0">
                  <a:pos x="connsiteX0" y="connsiteY0"/>
                </a:cxn>
                <a:cxn ang="0">
                  <a:pos x="connsiteX1" y="connsiteY1"/>
                </a:cxn>
                <a:cxn ang="0">
                  <a:pos x="connsiteX2" y="connsiteY2"/>
                </a:cxn>
                <a:cxn ang="0">
                  <a:pos x="connsiteX3" y="connsiteY3"/>
                </a:cxn>
              </a:cxnLst>
              <a:rect l="l" t="t" r="r" b="b"/>
              <a:pathLst>
                <a:path w="22364" h="48518">
                  <a:moveTo>
                    <a:pt x="12141" y="0"/>
                  </a:moveTo>
                  <a:lnTo>
                    <a:pt x="10224" y="0"/>
                  </a:lnTo>
                  <a:lnTo>
                    <a:pt x="0" y="48518"/>
                  </a:lnTo>
                  <a:lnTo>
                    <a:pt x="22365" y="4851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5" name="Graphic 4">
              <a:extLst>
                <a:ext uri="{FF2B5EF4-FFF2-40B4-BE49-F238E27FC236}">
                  <a16:creationId xmlns:a16="http://schemas.microsoft.com/office/drawing/2014/main" id="{FC0618CB-8BBC-442F-91EC-B3BF4E08472D}"/>
                </a:ext>
              </a:extLst>
            </p:cNvPr>
            <p:cNvSpPr/>
            <p:nvPr/>
          </p:nvSpPr>
          <p:spPr>
            <a:xfrm>
              <a:off x="8212991" y="2421364"/>
              <a:ext cx="23262" cy="23264"/>
            </a:xfrm>
            <a:custGeom>
              <a:avLst/>
              <a:gdLst>
                <a:gd name="connsiteX0" fmla="*/ 5751 w 11501"/>
                <a:gd name="connsiteY0" fmla="*/ 11491 h 11491"/>
                <a:gd name="connsiteX1" fmla="*/ 11502 w 11501"/>
                <a:gd name="connsiteY1" fmla="*/ 5746 h 11491"/>
                <a:gd name="connsiteX2" fmla="*/ 5751 w 11501"/>
                <a:gd name="connsiteY2" fmla="*/ 0 h 11491"/>
                <a:gd name="connsiteX3" fmla="*/ 0 w 11501"/>
                <a:gd name="connsiteY3" fmla="*/ 5746 h 11491"/>
                <a:gd name="connsiteX4" fmla="*/ 5751 w 11501"/>
                <a:gd name="connsiteY4" fmla="*/ 11491 h 11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1" h="11491">
                  <a:moveTo>
                    <a:pt x="5751" y="11491"/>
                  </a:moveTo>
                  <a:cubicBezTo>
                    <a:pt x="8946" y="11491"/>
                    <a:pt x="11502" y="8938"/>
                    <a:pt x="11502" y="5746"/>
                  </a:cubicBezTo>
                  <a:cubicBezTo>
                    <a:pt x="11502" y="2554"/>
                    <a:pt x="8946" y="0"/>
                    <a:pt x="5751" y="0"/>
                  </a:cubicBezTo>
                  <a:cubicBezTo>
                    <a:pt x="2556" y="0"/>
                    <a:pt x="0" y="2554"/>
                    <a:pt x="0" y="5746"/>
                  </a:cubicBezTo>
                  <a:cubicBezTo>
                    <a:pt x="0" y="8938"/>
                    <a:pt x="2556" y="11491"/>
                    <a:pt x="5751" y="1149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6" name="Graphic 4">
              <a:extLst>
                <a:ext uri="{FF2B5EF4-FFF2-40B4-BE49-F238E27FC236}">
                  <a16:creationId xmlns:a16="http://schemas.microsoft.com/office/drawing/2014/main" id="{109F49A5-4893-42ED-8939-7AEDB07A0F4F}"/>
                </a:ext>
              </a:extLst>
            </p:cNvPr>
            <p:cNvSpPr/>
            <p:nvPr/>
          </p:nvSpPr>
          <p:spPr>
            <a:xfrm>
              <a:off x="8202651" y="2519589"/>
              <a:ext cx="43941" cy="98225"/>
            </a:xfrm>
            <a:custGeom>
              <a:avLst/>
              <a:gdLst>
                <a:gd name="connsiteX0" fmla="*/ 12141 w 21725"/>
                <a:gd name="connsiteY0" fmla="*/ 0 h 48518"/>
                <a:gd name="connsiteX1" fmla="*/ 10224 w 21725"/>
                <a:gd name="connsiteY1" fmla="*/ 0 h 48518"/>
                <a:gd name="connsiteX2" fmla="*/ 0 w 21725"/>
                <a:gd name="connsiteY2" fmla="*/ 48518 h 48518"/>
                <a:gd name="connsiteX3" fmla="*/ 21726 w 21725"/>
                <a:gd name="connsiteY3" fmla="*/ 48518 h 48518"/>
              </a:gdLst>
              <a:ahLst/>
              <a:cxnLst>
                <a:cxn ang="0">
                  <a:pos x="connsiteX0" y="connsiteY0"/>
                </a:cxn>
                <a:cxn ang="0">
                  <a:pos x="connsiteX1" y="connsiteY1"/>
                </a:cxn>
                <a:cxn ang="0">
                  <a:pos x="connsiteX2" y="connsiteY2"/>
                </a:cxn>
                <a:cxn ang="0">
                  <a:pos x="connsiteX3" y="connsiteY3"/>
                </a:cxn>
              </a:cxnLst>
              <a:rect l="l" t="t" r="r" b="b"/>
              <a:pathLst>
                <a:path w="21725" h="48518">
                  <a:moveTo>
                    <a:pt x="12141" y="0"/>
                  </a:moveTo>
                  <a:lnTo>
                    <a:pt x="10224" y="0"/>
                  </a:lnTo>
                  <a:lnTo>
                    <a:pt x="0" y="48518"/>
                  </a:lnTo>
                  <a:lnTo>
                    <a:pt x="21726" y="4851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7" name="Graphic 4">
              <a:extLst>
                <a:ext uri="{FF2B5EF4-FFF2-40B4-BE49-F238E27FC236}">
                  <a16:creationId xmlns:a16="http://schemas.microsoft.com/office/drawing/2014/main" id="{67971C95-A34A-45C0-93F2-4AC5892111AA}"/>
                </a:ext>
              </a:extLst>
            </p:cNvPr>
            <p:cNvSpPr/>
            <p:nvPr/>
          </p:nvSpPr>
          <p:spPr>
            <a:xfrm>
              <a:off x="7653365" y="2197772"/>
              <a:ext cx="731520" cy="731520"/>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82435 w 361670"/>
                <a:gd name="connsiteY5" fmla="*/ 97675 h 361333"/>
                <a:gd name="connsiteX6" fmla="*/ 300966 w 361670"/>
                <a:gd name="connsiteY6" fmla="*/ 116189 h 361333"/>
                <a:gd name="connsiteX7" fmla="*/ 282435 w 361670"/>
                <a:gd name="connsiteY7" fmla="*/ 134702 h 361333"/>
                <a:gd name="connsiteX8" fmla="*/ 263904 w 361670"/>
                <a:gd name="connsiteY8" fmla="*/ 116189 h 361333"/>
                <a:gd name="connsiteX9" fmla="*/ 282435 w 361670"/>
                <a:gd name="connsiteY9" fmla="*/ 97675 h 361333"/>
                <a:gd name="connsiteX10" fmla="*/ 182752 w 361670"/>
                <a:gd name="connsiteY10" fmla="*/ 97675 h 361333"/>
                <a:gd name="connsiteX11" fmla="*/ 201283 w 361670"/>
                <a:gd name="connsiteY11" fmla="*/ 116189 h 361333"/>
                <a:gd name="connsiteX12" fmla="*/ 182752 w 361670"/>
                <a:gd name="connsiteY12" fmla="*/ 134702 h 361333"/>
                <a:gd name="connsiteX13" fmla="*/ 164221 w 361670"/>
                <a:gd name="connsiteY13" fmla="*/ 116189 h 361333"/>
                <a:gd name="connsiteX14" fmla="*/ 182752 w 361670"/>
                <a:gd name="connsiteY14" fmla="*/ 97675 h 361333"/>
                <a:gd name="connsiteX15" fmla="*/ 82430 w 361670"/>
                <a:gd name="connsiteY15" fmla="*/ 97675 h 361333"/>
                <a:gd name="connsiteX16" fmla="*/ 100961 w 361670"/>
                <a:gd name="connsiteY16" fmla="*/ 116189 h 361333"/>
                <a:gd name="connsiteX17" fmla="*/ 82430 w 361670"/>
                <a:gd name="connsiteY17" fmla="*/ 134702 h 361333"/>
                <a:gd name="connsiteX18" fmla="*/ 63899 w 361670"/>
                <a:gd name="connsiteY18" fmla="*/ 116189 h 361333"/>
                <a:gd name="connsiteX19" fmla="*/ 82430 w 361670"/>
                <a:gd name="connsiteY19" fmla="*/ 97675 h 361333"/>
                <a:gd name="connsiteX20" fmla="*/ 35145 w 361670"/>
                <a:gd name="connsiteY20" fmla="*/ 196627 h 361333"/>
                <a:gd name="connsiteX21" fmla="*/ 30033 w 361670"/>
                <a:gd name="connsiteY21" fmla="*/ 199180 h 361333"/>
                <a:gd name="connsiteX22" fmla="*/ 26199 w 361670"/>
                <a:gd name="connsiteY22" fmla="*/ 197903 h 361333"/>
                <a:gd name="connsiteX23" fmla="*/ 24921 w 361670"/>
                <a:gd name="connsiteY23" fmla="*/ 188966 h 361333"/>
                <a:gd name="connsiteX24" fmla="*/ 53036 w 361670"/>
                <a:gd name="connsiteY24" fmla="*/ 149385 h 361333"/>
                <a:gd name="connsiteX25" fmla="*/ 61982 w 361670"/>
                <a:gd name="connsiteY25" fmla="*/ 148108 h 361333"/>
                <a:gd name="connsiteX26" fmla="*/ 63260 w 361670"/>
                <a:gd name="connsiteY26" fmla="*/ 157046 h 361333"/>
                <a:gd name="connsiteX27" fmla="*/ 35145 w 361670"/>
                <a:gd name="connsiteY27" fmla="*/ 196627 h 361333"/>
                <a:gd name="connsiteX28" fmla="*/ 106073 w 361670"/>
                <a:gd name="connsiteY28" fmla="*/ 217694 h 361333"/>
                <a:gd name="connsiteX29" fmla="*/ 100961 w 361670"/>
                <a:gd name="connsiteY29" fmla="*/ 220247 h 361333"/>
                <a:gd name="connsiteX30" fmla="*/ 100961 w 361670"/>
                <a:gd name="connsiteY30" fmla="*/ 266851 h 361333"/>
                <a:gd name="connsiteX31" fmla="*/ 94571 w 361670"/>
                <a:gd name="connsiteY31" fmla="*/ 273235 h 361333"/>
                <a:gd name="connsiteX32" fmla="*/ 88181 w 361670"/>
                <a:gd name="connsiteY32" fmla="*/ 266851 h 361333"/>
                <a:gd name="connsiteX33" fmla="*/ 88181 w 361670"/>
                <a:gd name="connsiteY33" fmla="*/ 220247 h 361333"/>
                <a:gd name="connsiteX34" fmla="*/ 76040 w 361670"/>
                <a:gd name="connsiteY34" fmla="*/ 220247 h 361333"/>
                <a:gd name="connsiteX35" fmla="*/ 76040 w 361670"/>
                <a:gd name="connsiteY35" fmla="*/ 266851 h 361333"/>
                <a:gd name="connsiteX36" fmla="*/ 69650 w 361670"/>
                <a:gd name="connsiteY36" fmla="*/ 273235 h 361333"/>
                <a:gd name="connsiteX37" fmla="*/ 63260 w 361670"/>
                <a:gd name="connsiteY37" fmla="*/ 266851 h 361333"/>
                <a:gd name="connsiteX38" fmla="*/ 63260 w 361670"/>
                <a:gd name="connsiteY38" fmla="*/ 220247 h 361333"/>
                <a:gd name="connsiteX39" fmla="*/ 58148 w 361670"/>
                <a:gd name="connsiteY39" fmla="*/ 217694 h 361333"/>
                <a:gd name="connsiteX40" fmla="*/ 56870 w 361670"/>
                <a:gd name="connsiteY40" fmla="*/ 212587 h 361333"/>
                <a:gd name="connsiteX41" fmla="*/ 69650 w 361670"/>
                <a:gd name="connsiteY41" fmla="*/ 151300 h 361333"/>
                <a:gd name="connsiteX42" fmla="*/ 76040 w 361670"/>
                <a:gd name="connsiteY42" fmla="*/ 146193 h 361333"/>
                <a:gd name="connsiteX43" fmla="*/ 88181 w 361670"/>
                <a:gd name="connsiteY43" fmla="*/ 146193 h 361333"/>
                <a:gd name="connsiteX44" fmla="*/ 94571 w 361670"/>
                <a:gd name="connsiteY44" fmla="*/ 151300 h 361333"/>
                <a:gd name="connsiteX45" fmla="*/ 107351 w 361670"/>
                <a:gd name="connsiteY45" fmla="*/ 212587 h 361333"/>
                <a:gd name="connsiteX46" fmla="*/ 106073 w 361670"/>
                <a:gd name="connsiteY46" fmla="*/ 217694 h 361333"/>
                <a:gd name="connsiteX47" fmla="*/ 154637 w 361670"/>
                <a:gd name="connsiteY47" fmla="*/ 148108 h 361333"/>
                <a:gd name="connsiteX48" fmla="*/ 132911 w 361670"/>
                <a:gd name="connsiteY48" fmla="*/ 104697 h 361333"/>
                <a:gd name="connsiteX49" fmla="*/ 111185 w 361670"/>
                <a:gd name="connsiteY49" fmla="*/ 148108 h 361333"/>
                <a:gd name="connsiteX50" fmla="*/ 105434 w 361670"/>
                <a:gd name="connsiteY50" fmla="*/ 151939 h 361333"/>
                <a:gd name="connsiteX51" fmla="*/ 102878 w 361670"/>
                <a:gd name="connsiteY51" fmla="*/ 151300 h 361333"/>
                <a:gd name="connsiteX52" fmla="*/ 100322 w 361670"/>
                <a:gd name="connsiteY52" fmla="*/ 143001 h 361333"/>
                <a:gd name="connsiteX53" fmla="*/ 127799 w 361670"/>
                <a:gd name="connsiteY53" fmla="*/ 88099 h 361333"/>
                <a:gd name="connsiteX54" fmla="*/ 128438 w 361670"/>
                <a:gd name="connsiteY54" fmla="*/ 87461 h 361333"/>
                <a:gd name="connsiteX55" fmla="*/ 129077 w 361670"/>
                <a:gd name="connsiteY55" fmla="*/ 86184 h 361333"/>
                <a:gd name="connsiteX56" fmla="*/ 130354 w 361670"/>
                <a:gd name="connsiteY56" fmla="*/ 85545 h 361333"/>
                <a:gd name="connsiteX57" fmla="*/ 130994 w 361670"/>
                <a:gd name="connsiteY57" fmla="*/ 84907 h 361333"/>
                <a:gd name="connsiteX58" fmla="*/ 131633 w 361670"/>
                <a:gd name="connsiteY58" fmla="*/ 84907 h 361333"/>
                <a:gd name="connsiteX59" fmla="*/ 132911 w 361670"/>
                <a:gd name="connsiteY59" fmla="*/ 84269 h 361333"/>
                <a:gd name="connsiteX60" fmla="*/ 134189 w 361670"/>
                <a:gd name="connsiteY60" fmla="*/ 84269 h 361333"/>
                <a:gd name="connsiteX61" fmla="*/ 135467 w 361670"/>
                <a:gd name="connsiteY61" fmla="*/ 84269 h 361333"/>
                <a:gd name="connsiteX62" fmla="*/ 136744 w 361670"/>
                <a:gd name="connsiteY62" fmla="*/ 84907 h 361333"/>
                <a:gd name="connsiteX63" fmla="*/ 137384 w 361670"/>
                <a:gd name="connsiteY63" fmla="*/ 84907 h 361333"/>
                <a:gd name="connsiteX64" fmla="*/ 138022 w 361670"/>
                <a:gd name="connsiteY64" fmla="*/ 85545 h 361333"/>
                <a:gd name="connsiteX65" fmla="*/ 139301 w 361670"/>
                <a:gd name="connsiteY65" fmla="*/ 86184 h 361333"/>
                <a:gd name="connsiteX66" fmla="*/ 139939 w 361670"/>
                <a:gd name="connsiteY66" fmla="*/ 87461 h 361333"/>
                <a:gd name="connsiteX67" fmla="*/ 140579 w 361670"/>
                <a:gd name="connsiteY67" fmla="*/ 88099 h 361333"/>
                <a:gd name="connsiteX68" fmla="*/ 168055 w 361670"/>
                <a:gd name="connsiteY68" fmla="*/ 143001 h 361333"/>
                <a:gd name="connsiteX69" fmla="*/ 165499 w 361670"/>
                <a:gd name="connsiteY69" fmla="*/ 151300 h 361333"/>
                <a:gd name="connsiteX70" fmla="*/ 162943 w 361670"/>
                <a:gd name="connsiteY70" fmla="*/ 151939 h 361333"/>
                <a:gd name="connsiteX71" fmla="*/ 154637 w 361670"/>
                <a:gd name="connsiteY71" fmla="*/ 148108 h 361333"/>
                <a:gd name="connsiteX72" fmla="*/ 207034 w 361670"/>
                <a:gd name="connsiteY72" fmla="*/ 217694 h 361333"/>
                <a:gd name="connsiteX73" fmla="*/ 201922 w 361670"/>
                <a:gd name="connsiteY73" fmla="*/ 220247 h 361333"/>
                <a:gd name="connsiteX74" fmla="*/ 201922 w 361670"/>
                <a:gd name="connsiteY74" fmla="*/ 266851 h 361333"/>
                <a:gd name="connsiteX75" fmla="*/ 195532 w 361670"/>
                <a:gd name="connsiteY75" fmla="*/ 273235 h 361333"/>
                <a:gd name="connsiteX76" fmla="*/ 189142 w 361670"/>
                <a:gd name="connsiteY76" fmla="*/ 266851 h 361333"/>
                <a:gd name="connsiteX77" fmla="*/ 189142 w 361670"/>
                <a:gd name="connsiteY77" fmla="*/ 220247 h 361333"/>
                <a:gd name="connsiteX78" fmla="*/ 177001 w 361670"/>
                <a:gd name="connsiteY78" fmla="*/ 220247 h 361333"/>
                <a:gd name="connsiteX79" fmla="*/ 177001 w 361670"/>
                <a:gd name="connsiteY79" fmla="*/ 266851 h 361333"/>
                <a:gd name="connsiteX80" fmla="*/ 170611 w 361670"/>
                <a:gd name="connsiteY80" fmla="*/ 273235 h 361333"/>
                <a:gd name="connsiteX81" fmla="*/ 164221 w 361670"/>
                <a:gd name="connsiteY81" fmla="*/ 266851 h 361333"/>
                <a:gd name="connsiteX82" fmla="*/ 164221 w 361670"/>
                <a:gd name="connsiteY82" fmla="*/ 220247 h 361333"/>
                <a:gd name="connsiteX83" fmla="*/ 159109 w 361670"/>
                <a:gd name="connsiteY83" fmla="*/ 217694 h 361333"/>
                <a:gd name="connsiteX84" fmla="*/ 157832 w 361670"/>
                <a:gd name="connsiteY84" fmla="*/ 212587 h 361333"/>
                <a:gd name="connsiteX85" fmla="*/ 170611 w 361670"/>
                <a:gd name="connsiteY85" fmla="*/ 151300 h 361333"/>
                <a:gd name="connsiteX86" fmla="*/ 177001 w 361670"/>
                <a:gd name="connsiteY86" fmla="*/ 146193 h 361333"/>
                <a:gd name="connsiteX87" fmla="*/ 189142 w 361670"/>
                <a:gd name="connsiteY87" fmla="*/ 146193 h 361333"/>
                <a:gd name="connsiteX88" fmla="*/ 195532 w 361670"/>
                <a:gd name="connsiteY88" fmla="*/ 151300 h 361333"/>
                <a:gd name="connsiteX89" fmla="*/ 208312 w 361670"/>
                <a:gd name="connsiteY89" fmla="*/ 212587 h 361333"/>
                <a:gd name="connsiteX90" fmla="*/ 207034 w 361670"/>
                <a:gd name="connsiteY90" fmla="*/ 217694 h 361333"/>
                <a:gd name="connsiteX91" fmla="*/ 254958 w 361670"/>
                <a:gd name="connsiteY91" fmla="*/ 148108 h 361333"/>
                <a:gd name="connsiteX92" fmla="*/ 233233 w 361670"/>
                <a:gd name="connsiteY92" fmla="*/ 104697 h 361333"/>
                <a:gd name="connsiteX93" fmla="*/ 211507 w 361670"/>
                <a:gd name="connsiteY93" fmla="*/ 148108 h 361333"/>
                <a:gd name="connsiteX94" fmla="*/ 205756 w 361670"/>
                <a:gd name="connsiteY94" fmla="*/ 151939 h 361333"/>
                <a:gd name="connsiteX95" fmla="*/ 203200 w 361670"/>
                <a:gd name="connsiteY95" fmla="*/ 151300 h 361333"/>
                <a:gd name="connsiteX96" fmla="*/ 200644 w 361670"/>
                <a:gd name="connsiteY96" fmla="*/ 143001 h 361333"/>
                <a:gd name="connsiteX97" fmla="*/ 228121 w 361670"/>
                <a:gd name="connsiteY97" fmla="*/ 88099 h 361333"/>
                <a:gd name="connsiteX98" fmla="*/ 228760 w 361670"/>
                <a:gd name="connsiteY98" fmla="*/ 87461 h 361333"/>
                <a:gd name="connsiteX99" fmla="*/ 229399 w 361670"/>
                <a:gd name="connsiteY99" fmla="*/ 86184 h 361333"/>
                <a:gd name="connsiteX100" fmla="*/ 230677 w 361670"/>
                <a:gd name="connsiteY100" fmla="*/ 85545 h 361333"/>
                <a:gd name="connsiteX101" fmla="*/ 231316 w 361670"/>
                <a:gd name="connsiteY101" fmla="*/ 84907 h 361333"/>
                <a:gd name="connsiteX102" fmla="*/ 231955 w 361670"/>
                <a:gd name="connsiteY102" fmla="*/ 84907 h 361333"/>
                <a:gd name="connsiteX103" fmla="*/ 233233 w 361670"/>
                <a:gd name="connsiteY103" fmla="*/ 84269 h 361333"/>
                <a:gd name="connsiteX104" fmla="*/ 234511 w 361670"/>
                <a:gd name="connsiteY104" fmla="*/ 84269 h 361333"/>
                <a:gd name="connsiteX105" fmla="*/ 235788 w 361670"/>
                <a:gd name="connsiteY105" fmla="*/ 84269 h 361333"/>
                <a:gd name="connsiteX106" fmla="*/ 237067 w 361670"/>
                <a:gd name="connsiteY106" fmla="*/ 84907 h 361333"/>
                <a:gd name="connsiteX107" fmla="*/ 237706 w 361670"/>
                <a:gd name="connsiteY107" fmla="*/ 84907 h 361333"/>
                <a:gd name="connsiteX108" fmla="*/ 238345 w 361670"/>
                <a:gd name="connsiteY108" fmla="*/ 85545 h 361333"/>
                <a:gd name="connsiteX109" fmla="*/ 239623 w 361670"/>
                <a:gd name="connsiteY109" fmla="*/ 86184 h 361333"/>
                <a:gd name="connsiteX110" fmla="*/ 240261 w 361670"/>
                <a:gd name="connsiteY110" fmla="*/ 87461 h 361333"/>
                <a:gd name="connsiteX111" fmla="*/ 240901 w 361670"/>
                <a:gd name="connsiteY111" fmla="*/ 88099 h 361333"/>
                <a:gd name="connsiteX112" fmla="*/ 268377 w 361670"/>
                <a:gd name="connsiteY112" fmla="*/ 143001 h 361333"/>
                <a:gd name="connsiteX113" fmla="*/ 265821 w 361670"/>
                <a:gd name="connsiteY113" fmla="*/ 151300 h 361333"/>
                <a:gd name="connsiteX114" fmla="*/ 263266 w 361670"/>
                <a:gd name="connsiteY114" fmla="*/ 151939 h 361333"/>
                <a:gd name="connsiteX115" fmla="*/ 254958 w 361670"/>
                <a:gd name="connsiteY115" fmla="*/ 148108 h 361333"/>
                <a:gd name="connsiteX116" fmla="*/ 306078 w 361670"/>
                <a:gd name="connsiteY116" fmla="*/ 217694 h 361333"/>
                <a:gd name="connsiteX117" fmla="*/ 300966 w 361670"/>
                <a:gd name="connsiteY117" fmla="*/ 220247 h 361333"/>
                <a:gd name="connsiteX118" fmla="*/ 300966 w 361670"/>
                <a:gd name="connsiteY118" fmla="*/ 266851 h 361333"/>
                <a:gd name="connsiteX119" fmla="*/ 294576 w 361670"/>
                <a:gd name="connsiteY119" fmla="*/ 273235 h 361333"/>
                <a:gd name="connsiteX120" fmla="*/ 288186 w 361670"/>
                <a:gd name="connsiteY120" fmla="*/ 266851 h 361333"/>
                <a:gd name="connsiteX121" fmla="*/ 288186 w 361670"/>
                <a:gd name="connsiteY121" fmla="*/ 220247 h 361333"/>
                <a:gd name="connsiteX122" fmla="*/ 276045 w 361670"/>
                <a:gd name="connsiteY122" fmla="*/ 220247 h 361333"/>
                <a:gd name="connsiteX123" fmla="*/ 276045 w 361670"/>
                <a:gd name="connsiteY123" fmla="*/ 266851 h 361333"/>
                <a:gd name="connsiteX124" fmla="*/ 269655 w 361670"/>
                <a:gd name="connsiteY124" fmla="*/ 273235 h 361333"/>
                <a:gd name="connsiteX125" fmla="*/ 263266 w 361670"/>
                <a:gd name="connsiteY125" fmla="*/ 266851 h 361333"/>
                <a:gd name="connsiteX126" fmla="*/ 263266 w 361670"/>
                <a:gd name="connsiteY126" fmla="*/ 220247 h 361333"/>
                <a:gd name="connsiteX127" fmla="*/ 258153 w 361670"/>
                <a:gd name="connsiteY127" fmla="*/ 217694 h 361333"/>
                <a:gd name="connsiteX128" fmla="*/ 256876 w 361670"/>
                <a:gd name="connsiteY128" fmla="*/ 212587 h 361333"/>
                <a:gd name="connsiteX129" fmla="*/ 269655 w 361670"/>
                <a:gd name="connsiteY129" fmla="*/ 151300 h 361333"/>
                <a:gd name="connsiteX130" fmla="*/ 276045 w 361670"/>
                <a:gd name="connsiteY130" fmla="*/ 146193 h 361333"/>
                <a:gd name="connsiteX131" fmla="*/ 288186 w 361670"/>
                <a:gd name="connsiteY131" fmla="*/ 146193 h 361333"/>
                <a:gd name="connsiteX132" fmla="*/ 294576 w 361670"/>
                <a:gd name="connsiteY132" fmla="*/ 151300 h 361333"/>
                <a:gd name="connsiteX133" fmla="*/ 307356 w 361670"/>
                <a:gd name="connsiteY133" fmla="*/ 212587 h 361333"/>
                <a:gd name="connsiteX134" fmla="*/ 306078 w 361670"/>
                <a:gd name="connsiteY134" fmla="*/ 217694 h 361333"/>
                <a:gd name="connsiteX135" fmla="*/ 334832 w 361670"/>
                <a:gd name="connsiteY135" fmla="*/ 199180 h 361333"/>
                <a:gd name="connsiteX136" fmla="*/ 329721 w 361670"/>
                <a:gd name="connsiteY136" fmla="*/ 196627 h 361333"/>
                <a:gd name="connsiteX137" fmla="*/ 301605 w 361670"/>
                <a:gd name="connsiteY137" fmla="*/ 157046 h 361333"/>
                <a:gd name="connsiteX138" fmla="*/ 302883 w 361670"/>
                <a:gd name="connsiteY138" fmla="*/ 148108 h 361333"/>
                <a:gd name="connsiteX139" fmla="*/ 311829 w 361670"/>
                <a:gd name="connsiteY139" fmla="*/ 149385 h 361333"/>
                <a:gd name="connsiteX140" fmla="*/ 339945 w 361670"/>
                <a:gd name="connsiteY140" fmla="*/ 188966 h 361333"/>
                <a:gd name="connsiteX141" fmla="*/ 338667 w 361670"/>
                <a:gd name="connsiteY141" fmla="*/ 197903 h 361333"/>
                <a:gd name="connsiteX142" fmla="*/ 334832 w 361670"/>
                <a:gd name="connsiteY142" fmla="*/ 19918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361670" h="361333">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1670" y="81077"/>
                    <a:pt x="280518" y="0"/>
                    <a:pt x="180835" y="0"/>
                  </a:cubicBezTo>
                  <a:close/>
                  <a:moveTo>
                    <a:pt x="282435" y="97675"/>
                  </a:moveTo>
                  <a:cubicBezTo>
                    <a:pt x="292659" y="97675"/>
                    <a:pt x="300966" y="105974"/>
                    <a:pt x="300966" y="116189"/>
                  </a:cubicBezTo>
                  <a:cubicBezTo>
                    <a:pt x="300966" y="126403"/>
                    <a:pt x="292659" y="134702"/>
                    <a:pt x="282435" y="134702"/>
                  </a:cubicBezTo>
                  <a:cubicBezTo>
                    <a:pt x="272211" y="134702"/>
                    <a:pt x="263904" y="126403"/>
                    <a:pt x="263904" y="116189"/>
                  </a:cubicBezTo>
                  <a:cubicBezTo>
                    <a:pt x="263904" y="105974"/>
                    <a:pt x="272211" y="97675"/>
                    <a:pt x="282435" y="97675"/>
                  </a:cubicBezTo>
                  <a:close/>
                  <a:moveTo>
                    <a:pt x="182752" y="97675"/>
                  </a:moveTo>
                  <a:cubicBezTo>
                    <a:pt x="192976" y="97675"/>
                    <a:pt x="201283" y="105974"/>
                    <a:pt x="201283" y="116189"/>
                  </a:cubicBezTo>
                  <a:cubicBezTo>
                    <a:pt x="201283" y="126403"/>
                    <a:pt x="192976" y="134702"/>
                    <a:pt x="182752" y="134702"/>
                  </a:cubicBezTo>
                  <a:cubicBezTo>
                    <a:pt x="172528" y="134702"/>
                    <a:pt x="164221" y="126403"/>
                    <a:pt x="164221" y="116189"/>
                  </a:cubicBezTo>
                  <a:cubicBezTo>
                    <a:pt x="164860" y="105974"/>
                    <a:pt x="172528" y="97675"/>
                    <a:pt x="182752" y="97675"/>
                  </a:cubicBezTo>
                  <a:close/>
                  <a:moveTo>
                    <a:pt x="82430" y="97675"/>
                  </a:moveTo>
                  <a:cubicBezTo>
                    <a:pt x="92654" y="97675"/>
                    <a:pt x="100961" y="105974"/>
                    <a:pt x="100961" y="116189"/>
                  </a:cubicBezTo>
                  <a:cubicBezTo>
                    <a:pt x="100961" y="126403"/>
                    <a:pt x="92654" y="134702"/>
                    <a:pt x="82430" y="134702"/>
                  </a:cubicBezTo>
                  <a:cubicBezTo>
                    <a:pt x="72206" y="134702"/>
                    <a:pt x="63899" y="126403"/>
                    <a:pt x="63899" y="116189"/>
                  </a:cubicBezTo>
                  <a:cubicBezTo>
                    <a:pt x="63899" y="105974"/>
                    <a:pt x="72206" y="97675"/>
                    <a:pt x="82430" y="97675"/>
                  </a:cubicBezTo>
                  <a:close/>
                  <a:moveTo>
                    <a:pt x="35145" y="196627"/>
                  </a:moveTo>
                  <a:cubicBezTo>
                    <a:pt x="33867" y="198542"/>
                    <a:pt x="31950" y="199180"/>
                    <a:pt x="30033" y="199180"/>
                  </a:cubicBezTo>
                  <a:cubicBezTo>
                    <a:pt x="28755" y="199180"/>
                    <a:pt x="27477" y="198542"/>
                    <a:pt x="26199" y="197903"/>
                  </a:cubicBezTo>
                  <a:cubicBezTo>
                    <a:pt x="23004" y="195988"/>
                    <a:pt x="22365" y="192158"/>
                    <a:pt x="24921" y="188966"/>
                  </a:cubicBezTo>
                  <a:lnTo>
                    <a:pt x="53036" y="149385"/>
                  </a:lnTo>
                  <a:cubicBezTo>
                    <a:pt x="54953" y="146193"/>
                    <a:pt x="58788" y="145555"/>
                    <a:pt x="61982" y="148108"/>
                  </a:cubicBezTo>
                  <a:cubicBezTo>
                    <a:pt x="65177" y="150024"/>
                    <a:pt x="65816" y="153854"/>
                    <a:pt x="63260" y="157046"/>
                  </a:cubicBezTo>
                  <a:lnTo>
                    <a:pt x="35145" y="196627"/>
                  </a:lnTo>
                  <a:close/>
                  <a:moveTo>
                    <a:pt x="106073" y="217694"/>
                  </a:moveTo>
                  <a:cubicBezTo>
                    <a:pt x="104795" y="218971"/>
                    <a:pt x="102878" y="220247"/>
                    <a:pt x="100961" y="220247"/>
                  </a:cubicBezTo>
                  <a:lnTo>
                    <a:pt x="100961" y="266851"/>
                  </a:lnTo>
                  <a:cubicBezTo>
                    <a:pt x="100961" y="270681"/>
                    <a:pt x="98405" y="273235"/>
                    <a:pt x="94571" y="273235"/>
                  </a:cubicBezTo>
                  <a:cubicBezTo>
                    <a:pt x="90737" y="273235"/>
                    <a:pt x="88181" y="270681"/>
                    <a:pt x="88181" y="266851"/>
                  </a:cubicBezTo>
                  <a:lnTo>
                    <a:pt x="88181" y="220247"/>
                  </a:lnTo>
                  <a:lnTo>
                    <a:pt x="76040" y="220247"/>
                  </a:lnTo>
                  <a:lnTo>
                    <a:pt x="76040" y="266851"/>
                  </a:lnTo>
                  <a:cubicBezTo>
                    <a:pt x="76040" y="270681"/>
                    <a:pt x="73484" y="273235"/>
                    <a:pt x="69650" y="273235"/>
                  </a:cubicBezTo>
                  <a:cubicBezTo>
                    <a:pt x="65816" y="273235"/>
                    <a:pt x="63260" y="270681"/>
                    <a:pt x="63260" y="266851"/>
                  </a:cubicBezTo>
                  <a:lnTo>
                    <a:pt x="63260" y="220247"/>
                  </a:lnTo>
                  <a:cubicBezTo>
                    <a:pt x="61343" y="220247"/>
                    <a:pt x="59426" y="219609"/>
                    <a:pt x="58148" y="217694"/>
                  </a:cubicBezTo>
                  <a:cubicBezTo>
                    <a:pt x="56870" y="216417"/>
                    <a:pt x="56231" y="214502"/>
                    <a:pt x="56870" y="212587"/>
                  </a:cubicBezTo>
                  <a:lnTo>
                    <a:pt x="69650" y="151300"/>
                  </a:lnTo>
                  <a:cubicBezTo>
                    <a:pt x="70289" y="148108"/>
                    <a:pt x="72845" y="146193"/>
                    <a:pt x="76040" y="146193"/>
                  </a:cubicBezTo>
                  <a:lnTo>
                    <a:pt x="88181" y="146193"/>
                  </a:lnTo>
                  <a:cubicBezTo>
                    <a:pt x="91376" y="146193"/>
                    <a:pt x="93932" y="148108"/>
                    <a:pt x="94571" y="151300"/>
                  </a:cubicBezTo>
                  <a:lnTo>
                    <a:pt x="107351" y="212587"/>
                  </a:lnTo>
                  <a:cubicBezTo>
                    <a:pt x="107990" y="214502"/>
                    <a:pt x="107351" y="216417"/>
                    <a:pt x="106073" y="217694"/>
                  </a:cubicBezTo>
                  <a:close/>
                  <a:moveTo>
                    <a:pt x="154637" y="148108"/>
                  </a:moveTo>
                  <a:lnTo>
                    <a:pt x="132911" y="104697"/>
                  </a:lnTo>
                  <a:lnTo>
                    <a:pt x="111185" y="148108"/>
                  </a:lnTo>
                  <a:cubicBezTo>
                    <a:pt x="109907" y="150662"/>
                    <a:pt x="107990" y="151939"/>
                    <a:pt x="105434" y="151939"/>
                  </a:cubicBezTo>
                  <a:cubicBezTo>
                    <a:pt x="104156" y="151939"/>
                    <a:pt x="103517" y="151939"/>
                    <a:pt x="102878" y="151300"/>
                  </a:cubicBezTo>
                  <a:cubicBezTo>
                    <a:pt x="99683" y="150024"/>
                    <a:pt x="98405" y="146193"/>
                    <a:pt x="100322" y="143001"/>
                  </a:cubicBezTo>
                  <a:lnTo>
                    <a:pt x="127799" y="88099"/>
                  </a:lnTo>
                  <a:cubicBezTo>
                    <a:pt x="127799" y="88099"/>
                    <a:pt x="127799" y="87461"/>
                    <a:pt x="128438" y="87461"/>
                  </a:cubicBezTo>
                  <a:cubicBezTo>
                    <a:pt x="128438" y="86822"/>
                    <a:pt x="129077" y="86822"/>
                    <a:pt x="129077" y="86184"/>
                  </a:cubicBezTo>
                  <a:cubicBezTo>
                    <a:pt x="129077" y="86184"/>
                    <a:pt x="129716" y="85545"/>
                    <a:pt x="130354" y="85545"/>
                  </a:cubicBezTo>
                  <a:cubicBezTo>
                    <a:pt x="130354" y="85545"/>
                    <a:pt x="130994" y="84907"/>
                    <a:pt x="130994" y="84907"/>
                  </a:cubicBezTo>
                  <a:cubicBezTo>
                    <a:pt x="130994" y="84907"/>
                    <a:pt x="130994" y="84907"/>
                    <a:pt x="131633" y="84907"/>
                  </a:cubicBezTo>
                  <a:cubicBezTo>
                    <a:pt x="132272" y="84907"/>
                    <a:pt x="132272" y="84907"/>
                    <a:pt x="132911" y="84269"/>
                  </a:cubicBezTo>
                  <a:cubicBezTo>
                    <a:pt x="133549" y="84269"/>
                    <a:pt x="133549" y="84269"/>
                    <a:pt x="134189" y="84269"/>
                  </a:cubicBezTo>
                  <a:cubicBezTo>
                    <a:pt x="134828" y="84269"/>
                    <a:pt x="134828" y="84269"/>
                    <a:pt x="135467" y="84269"/>
                  </a:cubicBezTo>
                  <a:cubicBezTo>
                    <a:pt x="136106" y="84269"/>
                    <a:pt x="136106" y="84269"/>
                    <a:pt x="136744" y="84907"/>
                  </a:cubicBezTo>
                  <a:cubicBezTo>
                    <a:pt x="136744" y="84907"/>
                    <a:pt x="136744" y="84907"/>
                    <a:pt x="137384" y="84907"/>
                  </a:cubicBezTo>
                  <a:cubicBezTo>
                    <a:pt x="137384" y="84907"/>
                    <a:pt x="138022" y="85545"/>
                    <a:pt x="138022" y="85545"/>
                  </a:cubicBezTo>
                  <a:cubicBezTo>
                    <a:pt x="138662" y="85545"/>
                    <a:pt x="138662" y="86184"/>
                    <a:pt x="139301" y="86184"/>
                  </a:cubicBezTo>
                  <a:cubicBezTo>
                    <a:pt x="139301" y="86184"/>
                    <a:pt x="139939" y="86822"/>
                    <a:pt x="139939" y="87461"/>
                  </a:cubicBezTo>
                  <a:cubicBezTo>
                    <a:pt x="139939" y="87461"/>
                    <a:pt x="140579" y="88099"/>
                    <a:pt x="140579" y="88099"/>
                  </a:cubicBezTo>
                  <a:lnTo>
                    <a:pt x="168055" y="143001"/>
                  </a:lnTo>
                  <a:cubicBezTo>
                    <a:pt x="169333" y="146193"/>
                    <a:pt x="168055" y="150024"/>
                    <a:pt x="165499" y="151300"/>
                  </a:cubicBezTo>
                  <a:cubicBezTo>
                    <a:pt x="164860" y="151939"/>
                    <a:pt x="163582" y="151939"/>
                    <a:pt x="162943" y="151939"/>
                  </a:cubicBezTo>
                  <a:cubicBezTo>
                    <a:pt x="157832" y="151939"/>
                    <a:pt x="155914" y="150662"/>
                    <a:pt x="154637" y="148108"/>
                  </a:cubicBezTo>
                  <a:close/>
                  <a:moveTo>
                    <a:pt x="207034" y="217694"/>
                  </a:moveTo>
                  <a:cubicBezTo>
                    <a:pt x="205756" y="218971"/>
                    <a:pt x="203839" y="220247"/>
                    <a:pt x="201922" y="220247"/>
                  </a:cubicBezTo>
                  <a:lnTo>
                    <a:pt x="201922" y="266851"/>
                  </a:lnTo>
                  <a:cubicBezTo>
                    <a:pt x="201922" y="270681"/>
                    <a:pt x="199366" y="273235"/>
                    <a:pt x="195532" y="273235"/>
                  </a:cubicBezTo>
                  <a:cubicBezTo>
                    <a:pt x="191698" y="273235"/>
                    <a:pt x="189142" y="270681"/>
                    <a:pt x="189142" y="266851"/>
                  </a:cubicBezTo>
                  <a:lnTo>
                    <a:pt x="189142" y="220247"/>
                  </a:lnTo>
                  <a:lnTo>
                    <a:pt x="177001" y="220247"/>
                  </a:lnTo>
                  <a:lnTo>
                    <a:pt x="177001" y="266851"/>
                  </a:lnTo>
                  <a:cubicBezTo>
                    <a:pt x="177001" y="270681"/>
                    <a:pt x="174445" y="273235"/>
                    <a:pt x="170611" y="273235"/>
                  </a:cubicBezTo>
                  <a:cubicBezTo>
                    <a:pt x="166777" y="273235"/>
                    <a:pt x="164221" y="270681"/>
                    <a:pt x="164221" y="266851"/>
                  </a:cubicBezTo>
                  <a:lnTo>
                    <a:pt x="164221" y="220247"/>
                  </a:lnTo>
                  <a:cubicBezTo>
                    <a:pt x="162304" y="220247"/>
                    <a:pt x="160387" y="219609"/>
                    <a:pt x="159109" y="217694"/>
                  </a:cubicBezTo>
                  <a:cubicBezTo>
                    <a:pt x="157832" y="216417"/>
                    <a:pt x="157192" y="214502"/>
                    <a:pt x="157832" y="212587"/>
                  </a:cubicBezTo>
                  <a:lnTo>
                    <a:pt x="170611" y="151300"/>
                  </a:lnTo>
                  <a:cubicBezTo>
                    <a:pt x="171250" y="148108"/>
                    <a:pt x="173806" y="146193"/>
                    <a:pt x="177001" y="146193"/>
                  </a:cubicBezTo>
                  <a:lnTo>
                    <a:pt x="189142" y="146193"/>
                  </a:lnTo>
                  <a:cubicBezTo>
                    <a:pt x="192337" y="146193"/>
                    <a:pt x="194893" y="148108"/>
                    <a:pt x="195532" y="151300"/>
                  </a:cubicBezTo>
                  <a:lnTo>
                    <a:pt x="208312" y="212587"/>
                  </a:lnTo>
                  <a:cubicBezTo>
                    <a:pt x="208312" y="214502"/>
                    <a:pt x="208312" y="216417"/>
                    <a:pt x="207034" y="217694"/>
                  </a:cubicBezTo>
                  <a:close/>
                  <a:moveTo>
                    <a:pt x="254958" y="148108"/>
                  </a:moveTo>
                  <a:lnTo>
                    <a:pt x="233233" y="104697"/>
                  </a:lnTo>
                  <a:lnTo>
                    <a:pt x="211507" y="148108"/>
                  </a:lnTo>
                  <a:cubicBezTo>
                    <a:pt x="210229" y="150662"/>
                    <a:pt x="208312" y="151939"/>
                    <a:pt x="205756" y="151939"/>
                  </a:cubicBezTo>
                  <a:cubicBezTo>
                    <a:pt x="205117" y="151939"/>
                    <a:pt x="203839" y="151939"/>
                    <a:pt x="203200" y="151300"/>
                  </a:cubicBezTo>
                  <a:cubicBezTo>
                    <a:pt x="200005" y="150024"/>
                    <a:pt x="198727" y="146193"/>
                    <a:pt x="200644" y="143001"/>
                  </a:cubicBezTo>
                  <a:lnTo>
                    <a:pt x="228121" y="88099"/>
                  </a:lnTo>
                  <a:cubicBezTo>
                    <a:pt x="228121" y="88099"/>
                    <a:pt x="228121" y="87461"/>
                    <a:pt x="228760" y="87461"/>
                  </a:cubicBezTo>
                  <a:cubicBezTo>
                    <a:pt x="228760" y="86822"/>
                    <a:pt x="229399" y="86822"/>
                    <a:pt x="229399" y="86184"/>
                  </a:cubicBezTo>
                  <a:cubicBezTo>
                    <a:pt x="229399" y="86184"/>
                    <a:pt x="230038" y="85545"/>
                    <a:pt x="230677" y="85545"/>
                  </a:cubicBezTo>
                  <a:cubicBezTo>
                    <a:pt x="230677" y="85545"/>
                    <a:pt x="231316" y="84907"/>
                    <a:pt x="231316" y="84907"/>
                  </a:cubicBezTo>
                  <a:cubicBezTo>
                    <a:pt x="231316" y="84907"/>
                    <a:pt x="231316" y="84907"/>
                    <a:pt x="231955" y="84907"/>
                  </a:cubicBezTo>
                  <a:cubicBezTo>
                    <a:pt x="232593" y="84907"/>
                    <a:pt x="232593" y="84907"/>
                    <a:pt x="233233" y="84269"/>
                  </a:cubicBezTo>
                  <a:cubicBezTo>
                    <a:pt x="233872" y="84269"/>
                    <a:pt x="233872" y="84269"/>
                    <a:pt x="234511" y="84269"/>
                  </a:cubicBezTo>
                  <a:cubicBezTo>
                    <a:pt x="235150" y="84269"/>
                    <a:pt x="235150" y="84269"/>
                    <a:pt x="235788" y="84269"/>
                  </a:cubicBezTo>
                  <a:cubicBezTo>
                    <a:pt x="236428" y="84269"/>
                    <a:pt x="236428" y="84269"/>
                    <a:pt x="237067" y="84907"/>
                  </a:cubicBezTo>
                  <a:cubicBezTo>
                    <a:pt x="237067" y="84907"/>
                    <a:pt x="237067" y="84907"/>
                    <a:pt x="237706" y="84907"/>
                  </a:cubicBezTo>
                  <a:cubicBezTo>
                    <a:pt x="237706" y="84907"/>
                    <a:pt x="238345" y="85545"/>
                    <a:pt x="238345" y="85545"/>
                  </a:cubicBezTo>
                  <a:cubicBezTo>
                    <a:pt x="238983" y="85545"/>
                    <a:pt x="238983" y="86184"/>
                    <a:pt x="239623" y="86184"/>
                  </a:cubicBezTo>
                  <a:cubicBezTo>
                    <a:pt x="239623" y="86184"/>
                    <a:pt x="240261" y="86822"/>
                    <a:pt x="240261" y="87461"/>
                  </a:cubicBezTo>
                  <a:cubicBezTo>
                    <a:pt x="240261" y="87461"/>
                    <a:pt x="240901" y="88099"/>
                    <a:pt x="240901" y="88099"/>
                  </a:cubicBezTo>
                  <a:lnTo>
                    <a:pt x="268377" y="143001"/>
                  </a:lnTo>
                  <a:cubicBezTo>
                    <a:pt x="269655" y="146193"/>
                    <a:pt x="268377" y="150024"/>
                    <a:pt x="265821" y="151300"/>
                  </a:cubicBezTo>
                  <a:cubicBezTo>
                    <a:pt x="265182" y="151939"/>
                    <a:pt x="263904" y="151939"/>
                    <a:pt x="263266" y="151939"/>
                  </a:cubicBezTo>
                  <a:cubicBezTo>
                    <a:pt x="258153" y="151939"/>
                    <a:pt x="256236" y="150662"/>
                    <a:pt x="254958" y="148108"/>
                  </a:cubicBezTo>
                  <a:close/>
                  <a:moveTo>
                    <a:pt x="306078" y="217694"/>
                  </a:moveTo>
                  <a:cubicBezTo>
                    <a:pt x="304800" y="218971"/>
                    <a:pt x="302883" y="220247"/>
                    <a:pt x="300966" y="220247"/>
                  </a:cubicBezTo>
                  <a:lnTo>
                    <a:pt x="300966" y="266851"/>
                  </a:lnTo>
                  <a:cubicBezTo>
                    <a:pt x="300966" y="270681"/>
                    <a:pt x="298410" y="273235"/>
                    <a:pt x="294576" y="273235"/>
                  </a:cubicBezTo>
                  <a:cubicBezTo>
                    <a:pt x="290742" y="273235"/>
                    <a:pt x="288186" y="270681"/>
                    <a:pt x="288186" y="266851"/>
                  </a:cubicBezTo>
                  <a:lnTo>
                    <a:pt x="288186" y="220247"/>
                  </a:lnTo>
                  <a:lnTo>
                    <a:pt x="276045" y="220247"/>
                  </a:lnTo>
                  <a:lnTo>
                    <a:pt x="276045" y="266851"/>
                  </a:lnTo>
                  <a:cubicBezTo>
                    <a:pt x="276045" y="270681"/>
                    <a:pt x="273489" y="273235"/>
                    <a:pt x="269655" y="273235"/>
                  </a:cubicBezTo>
                  <a:cubicBezTo>
                    <a:pt x="265821" y="273235"/>
                    <a:pt x="263266" y="270681"/>
                    <a:pt x="263266" y="266851"/>
                  </a:cubicBezTo>
                  <a:lnTo>
                    <a:pt x="263266" y="220247"/>
                  </a:lnTo>
                  <a:cubicBezTo>
                    <a:pt x="261348" y="220247"/>
                    <a:pt x="259431" y="219609"/>
                    <a:pt x="258153" y="217694"/>
                  </a:cubicBezTo>
                  <a:cubicBezTo>
                    <a:pt x="256876" y="216417"/>
                    <a:pt x="256236" y="214502"/>
                    <a:pt x="256876" y="212587"/>
                  </a:cubicBezTo>
                  <a:lnTo>
                    <a:pt x="269655" y="151300"/>
                  </a:lnTo>
                  <a:cubicBezTo>
                    <a:pt x="270294" y="148108"/>
                    <a:pt x="272850" y="146193"/>
                    <a:pt x="276045" y="146193"/>
                  </a:cubicBezTo>
                  <a:lnTo>
                    <a:pt x="288186" y="146193"/>
                  </a:lnTo>
                  <a:cubicBezTo>
                    <a:pt x="291381" y="146193"/>
                    <a:pt x="293937" y="148108"/>
                    <a:pt x="294576" y="151300"/>
                  </a:cubicBezTo>
                  <a:lnTo>
                    <a:pt x="307356" y="212587"/>
                  </a:lnTo>
                  <a:cubicBezTo>
                    <a:pt x="307995" y="214502"/>
                    <a:pt x="307356" y="216417"/>
                    <a:pt x="306078" y="217694"/>
                  </a:cubicBezTo>
                  <a:close/>
                  <a:moveTo>
                    <a:pt x="334832" y="199180"/>
                  </a:moveTo>
                  <a:cubicBezTo>
                    <a:pt x="332916" y="199180"/>
                    <a:pt x="330999" y="198542"/>
                    <a:pt x="329721" y="196627"/>
                  </a:cubicBezTo>
                  <a:lnTo>
                    <a:pt x="301605" y="157046"/>
                  </a:lnTo>
                  <a:cubicBezTo>
                    <a:pt x="299688" y="153854"/>
                    <a:pt x="300327" y="150024"/>
                    <a:pt x="302883" y="148108"/>
                  </a:cubicBezTo>
                  <a:cubicBezTo>
                    <a:pt x="306078" y="146193"/>
                    <a:pt x="309912" y="146832"/>
                    <a:pt x="311829" y="149385"/>
                  </a:cubicBezTo>
                  <a:lnTo>
                    <a:pt x="339945" y="188966"/>
                  </a:lnTo>
                  <a:cubicBezTo>
                    <a:pt x="341862" y="192158"/>
                    <a:pt x="341222" y="195988"/>
                    <a:pt x="338667" y="197903"/>
                  </a:cubicBezTo>
                  <a:cubicBezTo>
                    <a:pt x="337389" y="198542"/>
                    <a:pt x="336111" y="199180"/>
                    <a:pt x="334832" y="19918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 name="Scroll: Horizontal 1">
            <a:extLst>
              <a:ext uri="{FF2B5EF4-FFF2-40B4-BE49-F238E27FC236}">
                <a16:creationId xmlns:a16="http://schemas.microsoft.com/office/drawing/2014/main" id="{71B008B5-D4E4-4963-8FDA-EE31AF57E375}"/>
              </a:ext>
            </a:extLst>
          </p:cNvPr>
          <p:cNvSpPr/>
          <p:nvPr/>
        </p:nvSpPr>
        <p:spPr bwMode="gray">
          <a:xfrm>
            <a:off x="513572" y="1013697"/>
            <a:ext cx="11115995" cy="803440"/>
          </a:xfrm>
          <a:prstGeom prst="horizontalScroll">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u="sng" strike="noStrike" kern="1200" cap="all" spc="0" normalizeH="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OUR VISION:</a:t>
            </a:r>
            <a:r>
              <a:rPr kumimoji="0" lang="en-US" sz="1400" b="1" i="0" u="none" strike="noStrike" kern="1200" cap="all" spc="0" normalizeH="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THE DELOITTE AI Academy will serve as Deloitte’s engine to bridge the AI talent gap in the market today by educating our way to AI talent growth through a focus on supplemental education </a:t>
            </a:r>
          </a:p>
        </p:txBody>
      </p:sp>
    </p:spTree>
    <p:extLst>
      <p:ext uri="{BB962C8B-B14F-4D97-AF65-F5344CB8AC3E}">
        <p14:creationId xmlns:p14="http://schemas.microsoft.com/office/powerpoint/2010/main" val="40150804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543949B-4804-4963-A641-040FEC1A2496}"/>
              </a:ext>
            </a:extLst>
          </p:cNvPr>
          <p:cNvSpPr>
            <a:spLocks noGrp="1"/>
          </p:cNvSpPr>
          <p:nvPr>
            <p:ph type="body" sz="quarter" idx="22"/>
          </p:nvPr>
        </p:nvSpPr>
        <p:spPr>
          <a:xfrm>
            <a:off x="463295" y="682940"/>
            <a:ext cx="11378638" cy="529833"/>
          </a:xfrm>
        </p:spPr>
        <p:txBody>
          <a:bodyPr/>
          <a:lstStyle/>
          <a:p>
            <a:r>
              <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The Deloitte AI Academy focuses on campus hires that can be trained for “</a:t>
            </a:r>
            <a:r>
              <a:rPr lang="en-US" dirty="0" err="1">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staffability</a:t>
            </a:r>
            <a:r>
              <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 on AI engagements upon completion of the rigorous 8-week bootcamp</a:t>
            </a:r>
          </a:p>
        </p:txBody>
      </p:sp>
      <p:sp>
        <p:nvSpPr>
          <p:cNvPr id="4" name="Title 3">
            <a:extLst>
              <a:ext uri="{FF2B5EF4-FFF2-40B4-BE49-F238E27FC236}">
                <a16:creationId xmlns:a16="http://schemas.microsoft.com/office/drawing/2014/main" id="{DAEE1803-6C46-402C-AB88-B2E0DEFA8E5C}"/>
              </a:ext>
            </a:extLst>
          </p:cNvPr>
          <p:cNvSpPr>
            <a:spLocks noGrp="1"/>
          </p:cNvSpPr>
          <p:nvPr>
            <p:ph type="title"/>
          </p:nvPr>
        </p:nvSpPr>
        <p:spPr/>
        <p:txBody>
          <a:bodyPr/>
          <a:lstStyle/>
          <a:p>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The Graduate Profile</a:t>
            </a:r>
          </a:p>
        </p:txBody>
      </p:sp>
      <p:sp>
        <p:nvSpPr>
          <p:cNvPr id="244" name="Rectangle 243">
            <a:extLst>
              <a:ext uri="{FF2B5EF4-FFF2-40B4-BE49-F238E27FC236}">
                <a16:creationId xmlns:a16="http://schemas.microsoft.com/office/drawing/2014/main" id="{AAFBC694-1774-4430-B86C-059312A3D0E8}"/>
              </a:ext>
            </a:extLst>
          </p:cNvPr>
          <p:cNvSpPr/>
          <p:nvPr/>
        </p:nvSpPr>
        <p:spPr>
          <a:xfrm>
            <a:off x="7233719" y="1635871"/>
            <a:ext cx="4277809" cy="282814"/>
          </a:xfrm>
          <a:prstGeom prst="rect">
            <a:avLst/>
          </a:prstGeom>
          <a:solidFill>
            <a:srgbClr val="86F20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245" name="Rectangle 244">
            <a:extLst>
              <a:ext uri="{FF2B5EF4-FFF2-40B4-BE49-F238E27FC236}">
                <a16:creationId xmlns:a16="http://schemas.microsoft.com/office/drawing/2014/main" id="{AC6CEECE-B61C-4DFD-8F3D-AECD9D4FE42D}"/>
              </a:ext>
            </a:extLst>
          </p:cNvPr>
          <p:cNvSpPr/>
          <p:nvPr/>
        </p:nvSpPr>
        <p:spPr>
          <a:xfrm>
            <a:off x="3167029" y="1338796"/>
            <a:ext cx="1886320" cy="297075"/>
          </a:xfrm>
          <a:prstGeom prst="rect">
            <a:avLst/>
          </a:prstGeom>
          <a:solidFill>
            <a:srgbClr val="86F20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246" name="Rectangle 245">
            <a:extLst>
              <a:ext uri="{FF2B5EF4-FFF2-40B4-BE49-F238E27FC236}">
                <a16:creationId xmlns:a16="http://schemas.microsoft.com/office/drawing/2014/main" id="{786BBE4A-D26E-4CB5-8610-F985EBAA4585}"/>
              </a:ext>
            </a:extLst>
          </p:cNvPr>
          <p:cNvSpPr/>
          <p:nvPr/>
        </p:nvSpPr>
        <p:spPr>
          <a:xfrm>
            <a:off x="483477" y="1663138"/>
            <a:ext cx="2868879" cy="251596"/>
          </a:xfrm>
          <a:prstGeom prst="rect">
            <a:avLst/>
          </a:prstGeom>
          <a:solidFill>
            <a:srgbClr val="86F20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247" name="Rectangle 246">
            <a:extLst>
              <a:ext uri="{FF2B5EF4-FFF2-40B4-BE49-F238E27FC236}">
                <a16:creationId xmlns:a16="http://schemas.microsoft.com/office/drawing/2014/main" id="{4F80F8E7-435E-49A5-82AE-EB427ADC053F}"/>
              </a:ext>
            </a:extLst>
          </p:cNvPr>
          <p:cNvSpPr/>
          <p:nvPr/>
        </p:nvSpPr>
        <p:spPr>
          <a:xfrm>
            <a:off x="426942" y="1299810"/>
            <a:ext cx="5548728" cy="707886"/>
          </a:xfrm>
          <a:prstGeom prst="rect">
            <a:avLst/>
          </a:prstGeom>
        </p:spPr>
        <p:txBody>
          <a:bodyPr wrap="square">
            <a:spAutoFit/>
          </a:bodyPr>
          <a:lstStyle/>
          <a:p>
            <a:pPr>
              <a:spcAft>
                <a:spcPts val="600"/>
              </a:spcAft>
            </a:pPr>
            <a:r>
              <a:rPr lang="en-US" sz="2000" b="1" dirty="0">
                <a:solidFill>
                  <a:srgbClr val="000000"/>
                </a:solidFill>
                <a:latin typeface="Open Sans"/>
              </a:rPr>
              <a:t>Candidates will have relevant prior academic background and knowledge…</a:t>
            </a:r>
          </a:p>
        </p:txBody>
      </p:sp>
      <p:sp>
        <p:nvSpPr>
          <p:cNvPr id="248" name="Rectangle 247">
            <a:extLst>
              <a:ext uri="{FF2B5EF4-FFF2-40B4-BE49-F238E27FC236}">
                <a16:creationId xmlns:a16="http://schemas.microsoft.com/office/drawing/2014/main" id="{24718B78-4963-4BFF-9F3D-40E593ADFD91}"/>
              </a:ext>
            </a:extLst>
          </p:cNvPr>
          <p:cNvSpPr/>
          <p:nvPr/>
        </p:nvSpPr>
        <p:spPr>
          <a:xfrm>
            <a:off x="6687377" y="1299810"/>
            <a:ext cx="5504623" cy="707886"/>
          </a:xfrm>
          <a:prstGeom prst="rect">
            <a:avLst/>
          </a:prstGeom>
        </p:spPr>
        <p:txBody>
          <a:bodyPr wrap="square">
            <a:spAutoFit/>
          </a:bodyPr>
          <a:lstStyle/>
          <a:p>
            <a:pPr>
              <a:spcAft>
                <a:spcPts val="600"/>
              </a:spcAft>
            </a:pPr>
            <a:r>
              <a:rPr lang="en-US" sz="2000" b="1" dirty="0">
                <a:solidFill>
                  <a:srgbClr val="000000"/>
                </a:solidFill>
                <a:latin typeface="Open Sans"/>
              </a:rPr>
              <a:t>…and the Academy will equip them with the AI skills needed for deployment</a:t>
            </a:r>
          </a:p>
        </p:txBody>
      </p:sp>
      <p:grpSp>
        <p:nvGrpSpPr>
          <p:cNvPr id="249" name="Group 248">
            <a:extLst>
              <a:ext uri="{FF2B5EF4-FFF2-40B4-BE49-F238E27FC236}">
                <a16:creationId xmlns:a16="http://schemas.microsoft.com/office/drawing/2014/main" id="{AD7266A6-6E66-4D00-84E1-7788BD34879E}"/>
              </a:ext>
            </a:extLst>
          </p:cNvPr>
          <p:cNvGrpSpPr/>
          <p:nvPr/>
        </p:nvGrpSpPr>
        <p:grpSpPr>
          <a:xfrm>
            <a:off x="1875705" y="4174851"/>
            <a:ext cx="2582648" cy="694486"/>
            <a:chOff x="1876518" y="4502738"/>
            <a:chExt cx="2582648" cy="694486"/>
          </a:xfrm>
        </p:grpSpPr>
        <p:sp>
          <p:nvSpPr>
            <p:cNvPr id="250" name="Freeform 241">
              <a:extLst>
                <a:ext uri="{FF2B5EF4-FFF2-40B4-BE49-F238E27FC236}">
                  <a16:creationId xmlns:a16="http://schemas.microsoft.com/office/drawing/2014/main" id="{3B2FCFE8-7FC2-436C-9205-4B499FB07314}"/>
                </a:ext>
              </a:extLst>
            </p:cNvPr>
            <p:cNvSpPr>
              <a:spLocks noChangeArrowheads="1"/>
            </p:cNvSpPr>
            <p:nvPr/>
          </p:nvSpPr>
          <p:spPr bwMode="auto">
            <a:xfrm flipH="1">
              <a:off x="3113113" y="4502738"/>
              <a:ext cx="1294559" cy="694486"/>
            </a:xfrm>
            <a:prstGeom prst="cube">
              <a:avLst/>
            </a:prstGeom>
            <a:solidFill>
              <a:srgbClr val="5777BF"/>
            </a:solidFill>
            <a:ln>
              <a:solidFill>
                <a:srgbClr val="002060"/>
              </a:solidFill>
            </a:ln>
            <a:effectLst/>
          </p:spPr>
          <p:txBody>
            <a:bodyPr wrap="square" tIns="548640" anchor="ctr"/>
            <a:lstStyle/>
            <a:p>
              <a:pPr algn="ctr">
                <a:defRPr/>
              </a:pPr>
              <a:endParaRPr lang="en-US" sz="1000" b="1">
                <a:solidFill>
                  <a:srgbClr val="000000"/>
                </a:solidFill>
                <a:latin typeface="Open Sans"/>
              </a:endParaRPr>
            </a:p>
          </p:txBody>
        </p:sp>
        <p:sp>
          <p:nvSpPr>
            <p:cNvPr id="251" name="Freeform 241">
              <a:extLst>
                <a:ext uri="{FF2B5EF4-FFF2-40B4-BE49-F238E27FC236}">
                  <a16:creationId xmlns:a16="http://schemas.microsoft.com/office/drawing/2014/main" id="{5463AB6F-2CF9-49FE-AB44-7A1BD2D9F064}"/>
                </a:ext>
              </a:extLst>
            </p:cNvPr>
            <p:cNvSpPr>
              <a:spLocks noChangeArrowheads="1"/>
            </p:cNvSpPr>
            <p:nvPr/>
          </p:nvSpPr>
          <p:spPr bwMode="auto">
            <a:xfrm flipH="1">
              <a:off x="1876518" y="4502738"/>
              <a:ext cx="1294559" cy="694486"/>
            </a:xfrm>
            <a:prstGeom prst="cube">
              <a:avLst/>
            </a:prstGeom>
            <a:solidFill>
              <a:srgbClr val="5777BF"/>
            </a:solidFill>
            <a:ln>
              <a:solidFill>
                <a:srgbClr val="002060"/>
              </a:solidFill>
            </a:ln>
            <a:effectLst/>
          </p:spPr>
          <p:txBody>
            <a:bodyPr wrap="square" tIns="548640" anchor="ctr"/>
            <a:lstStyle/>
            <a:p>
              <a:pPr algn="ctr">
                <a:defRPr/>
              </a:pPr>
              <a:endParaRPr lang="en-US" sz="1000" b="1">
                <a:solidFill>
                  <a:srgbClr val="000000"/>
                </a:solidFill>
                <a:latin typeface="Open Sans"/>
              </a:endParaRPr>
            </a:p>
          </p:txBody>
        </p:sp>
        <p:sp>
          <p:nvSpPr>
            <p:cNvPr id="252" name="TextBox 251">
              <a:extLst>
                <a:ext uri="{FF2B5EF4-FFF2-40B4-BE49-F238E27FC236}">
                  <a16:creationId xmlns:a16="http://schemas.microsoft.com/office/drawing/2014/main" id="{D773122B-EC07-4ED1-96A2-3EA2B2B3689D}"/>
                </a:ext>
              </a:extLst>
            </p:cNvPr>
            <p:cNvSpPr txBox="1"/>
            <p:nvPr/>
          </p:nvSpPr>
          <p:spPr>
            <a:xfrm>
              <a:off x="2075317" y="4757286"/>
              <a:ext cx="1003801" cy="400110"/>
            </a:xfrm>
            <a:prstGeom prst="rect">
              <a:avLst/>
            </a:prstGeom>
            <a:noFill/>
          </p:spPr>
          <p:txBody>
            <a:bodyPr wrap="none" rtlCol="0">
              <a:spAutoFit/>
            </a:bodyPr>
            <a:lstStyle/>
            <a:p>
              <a:pPr algn="ctr"/>
              <a:r>
                <a:rPr lang="en-US" sz="1000" dirty="0">
                  <a:solidFill>
                    <a:srgbClr val="FFFFFF"/>
                  </a:solidFill>
                  <a:latin typeface="Open Sans"/>
                </a:rPr>
                <a:t>Core</a:t>
              </a:r>
            </a:p>
            <a:p>
              <a:pPr algn="ctr"/>
              <a:r>
                <a:rPr lang="en-US" sz="1000" dirty="0">
                  <a:solidFill>
                    <a:srgbClr val="FFFFFF"/>
                  </a:solidFill>
                  <a:latin typeface="Open Sans"/>
                </a:rPr>
                <a:t>Programming</a:t>
              </a:r>
            </a:p>
          </p:txBody>
        </p:sp>
        <p:sp>
          <p:nvSpPr>
            <p:cNvPr id="253" name="TextBox 252">
              <a:extLst>
                <a:ext uri="{FF2B5EF4-FFF2-40B4-BE49-F238E27FC236}">
                  <a16:creationId xmlns:a16="http://schemas.microsoft.com/office/drawing/2014/main" id="{8473C68F-FBC6-4C5F-839F-5E3CA1A26D63}"/>
                </a:ext>
              </a:extLst>
            </p:cNvPr>
            <p:cNvSpPr txBox="1"/>
            <p:nvPr/>
          </p:nvSpPr>
          <p:spPr>
            <a:xfrm>
              <a:off x="3216624" y="4757286"/>
              <a:ext cx="1242542" cy="400110"/>
            </a:xfrm>
            <a:prstGeom prst="rect">
              <a:avLst/>
            </a:prstGeom>
            <a:noFill/>
          </p:spPr>
          <p:txBody>
            <a:bodyPr wrap="none" rtlCol="0">
              <a:spAutoFit/>
            </a:bodyPr>
            <a:lstStyle/>
            <a:p>
              <a:pPr algn="ctr"/>
              <a:r>
                <a:rPr lang="en-US" sz="1000">
                  <a:solidFill>
                    <a:srgbClr val="FFFFFF"/>
                  </a:solidFill>
                  <a:latin typeface="Open Sans"/>
                </a:rPr>
                <a:t>Math and</a:t>
              </a:r>
            </a:p>
            <a:p>
              <a:pPr algn="ctr"/>
              <a:r>
                <a:rPr lang="en-US" sz="1000">
                  <a:solidFill>
                    <a:srgbClr val="FFFFFF"/>
                  </a:solidFill>
                  <a:latin typeface="Open Sans"/>
                </a:rPr>
                <a:t>Statistics</a:t>
              </a:r>
            </a:p>
          </p:txBody>
        </p:sp>
      </p:grpSp>
      <p:sp>
        <p:nvSpPr>
          <p:cNvPr id="254" name="Rectangle: Rounded Corners 253">
            <a:extLst>
              <a:ext uri="{FF2B5EF4-FFF2-40B4-BE49-F238E27FC236}">
                <a16:creationId xmlns:a16="http://schemas.microsoft.com/office/drawing/2014/main" id="{A3AC1927-8E08-43A9-9886-DACCB096D345}"/>
              </a:ext>
            </a:extLst>
          </p:cNvPr>
          <p:cNvSpPr/>
          <p:nvPr/>
        </p:nvSpPr>
        <p:spPr>
          <a:xfrm>
            <a:off x="1139456" y="2122535"/>
            <a:ext cx="2212900" cy="275183"/>
          </a:xfrm>
          <a:prstGeom prst="roundRect">
            <a:avLst/>
          </a:prstGeom>
          <a:solidFill>
            <a:srgbClr val="0070C0"/>
          </a:solidFill>
          <a:ln w="12700" cap="flat" cmpd="sng" algn="ctr">
            <a:solidFill>
              <a:srgbClr val="FFFFFF">
                <a:lumMod val="50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Open Sans"/>
                <a:ea typeface="+mn-ea"/>
                <a:cs typeface="+mn-cs"/>
              </a:rPr>
              <a:t>Computer Science Majors</a:t>
            </a:r>
          </a:p>
        </p:txBody>
      </p:sp>
      <p:sp>
        <p:nvSpPr>
          <p:cNvPr id="255" name="Rectangle: Rounded Corners 254">
            <a:extLst>
              <a:ext uri="{FF2B5EF4-FFF2-40B4-BE49-F238E27FC236}">
                <a16:creationId xmlns:a16="http://schemas.microsoft.com/office/drawing/2014/main" id="{618B5D2D-8EB7-49D8-B4AF-A1802292DB4B}"/>
              </a:ext>
            </a:extLst>
          </p:cNvPr>
          <p:cNvSpPr/>
          <p:nvPr/>
        </p:nvSpPr>
        <p:spPr>
          <a:xfrm>
            <a:off x="3428207" y="2122535"/>
            <a:ext cx="2212900" cy="275183"/>
          </a:xfrm>
          <a:prstGeom prst="roundRect">
            <a:avLst/>
          </a:prstGeom>
          <a:solidFill>
            <a:srgbClr val="0070C0"/>
          </a:solidFill>
          <a:ln w="12700" cap="flat" cmpd="sng" algn="ctr">
            <a:solidFill>
              <a:srgbClr val="FFFFFF">
                <a:lumMod val="50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Open Sans"/>
                <a:ea typeface="+mn-ea"/>
                <a:cs typeface="+mn-cs"/>
              </a:rPr>
              <a:t>Math Majors</a:t>
            </a:r>
          </a:p>
        </p:txBody>
      </p:sp>
      <p:sp>
        <p:nvSpPr>
          <p:cNvPr id="256" name="Rectangle: Rounded Corners 255">
            <a:extLst>
              <a:ext uri="{FF2B5EF4-FFF2-40B4-BE49-F238E27FC236}">
                <a16:creationId xmlns:a16="http://schemas.microsoft.com/office/drawing/2014/main" id="{8E4F3817-0C32-4EC2-A391-C67BEF50588F}"/>
              </a:ext>
            </a:extLst>
          </p:cNvPr>
          <p:cNvSpPr/>
          <p:nvPr/>
        </p:nvSpPr>
        <p:spPr>
          <a:xfrm>
            <a:off x="1139456" y="2483695"/>
            <a:ext cx="2212900" cy="275183"/>
          </a:xfrm>
          <a:prstGeom prst="roundRect">
            <a:avLst/>
          </a:prstGeom>
          <a:solidFill>
            <a:srgbClr val="0070C0"/>
          </a:solidFill>
          <a:ln w="12700" cap="flat" cmpd="sng" algn="ctr">
            <a:solidFill>
              <a:srgbClr val="FFFFFF">
                <a:lumMod val="50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Open Sans"/>
                <a:ea typeface="+mn-ea"/>
                <a:cs typeface="+mn-cs"/>
              </a:rPr>
              <a:t>Engineering Majors</a:t>
            </a:r>
          </a:p>
        </p:txBody>
      </p:sp>
      <p:sp>
        <p:nvSpPr>
          <p:cNvPr id="257" name="Rectangle: Rounded Corners 256">
            <a:extLst>
              <a:ext uri="{FF2B5EF4-FFF2-40B4-BE49-F238E27FC236}">
                <a16:creationId xmlns:a16="http://schemas.microsoft.com/office/drawing/2014/main" id="{EC953607-C385-4DAE-B083-618C8F18E8D5}"/>
              </a:ext>
            </a:extLst>
          </p:cNvPr>
          <p:cNvSpPr/>
          <p:nvPr/>
        </p:nvSpPr>
        <p:spPr>
          <a:xfrm>
            <a:off x="7364352" y="2122535"/>
            <a:ext cx="2212900" cy="275183"/>
          </a:xfrm>
          <a:prstGeom prst="roundRect">
            <a:avLst/>
          </a:prstGeom>
          <a:solidFill>
            <a:srgbClr val="0070C0"/>
          </a:solidFill>
          <a:ln w="12700" cap="flat" cmpd="sng" algn="ctr">
            <a:solidFill>
              <a:srgbClr val="FFFFFF">
                <a:lumMod val="50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Open Sans"/>
                <a:ea typeface="+mn-ea"/>
                <a:cs typeface="+mn-cs"/>
              </a:rPr>
              <a:t>Staffability as an Analyst</a:t>
            </a:r>
          </a:p>
        </p:txBody>
      </p:sp>
      <p:sp>
        <p:nvSpPr>
          <p:cNvPr id="258" name="Rectangle: Rounded Corners 257">
            <a:extLst>
              <a:ext uri="{FF2B5EF4-FFF2-40B4-BE49-F238E27FC236}">
                <a16:creationId xmlns:a16="http://schemas.microsoft.com/office/drawing/2014/main" id="{4CA072ED-99B7-43F4-8DFC-26118E48A794}"/>
              </a:ext>
            </a:extLst>
          </p:cNvPr>
          <p:cNvSpPr/>
          <p:nvPr/>
        </p:nvSpPr>
        <p:spPr>
          <a:xfrm>
            <a:off x="9643790" y="2122535"/>
            <a:ext cx="2212900" cy="275183"/>
          </a:xfrm>
          <a:prstGeom prst="roundRect">
            <a:avLst/>
          </a:prstGeom>
          <a:solidFill>
            <a:srgbClr val="0070C0"/>
          </a:solidFill>
          <a:ln w="12700" cap="flat" cmpd="sng" algn="ctr">
            <a:solidFill>
              <a:srgbClr val="FFFFFF">
                <a:lumMod val="50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Open Sans"/>
                <a:ea typeface="+mn-ea"/>
                <a:cs typeface="+mn-cs"/>
              </a:rPr>
              <a:t>Core AI &amp; Data Skills</a:t>
            </a:r>
          </a:p>
        </p:txBody>
      </p:sp>
      <p:sp>
        <p:nvSpPr>
          <p:cNvPr id="259" name="Rectangle: Rounded Corners 258">
            <a:extLst>
              <a:ext uri="{FF2B5EF4-FFF2-40B4-BE49-F238E27FC236}">
                <a16:creationId xmlns:a16="http://schemas.microsoft.com/office/drawing/2014/main" id="{ECEB715A-7636-4941-8076-BEBBB4F6E3FD}"/>
              </a:ext>
            </a:extLst>
          </p:cNvPr>
          <p:cNvSpPr/>
          <p:nvPr/>
        </p:nvSpPr>
        <p:spPr>
          <a:xfrm>
            <a:off x="7364352" y="2483695"/>
            <a:ext cx="2212900" cy="275183"/>
          </a:xfrm>
          <a:prstGeom prst="roundRect">
            <a:avLst/>
          </a:prstGeom>
          <a:solidFill>
            <a:srgbClr val="0070C0"/>
          </a:solidFill>
          <a:ln w="12700" cap="flat" cmpd="sng" algn="ctr">
            <a:solidFill>
              <a:srgbClr val="FFFFFF">
                <a:lumMod val="50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Open Sans"/>
                <a:ea typeface="+mn-ea"/>
                <a:cs typeface="+mn-cs"/>
              </a:rPr>
              <a:t>Understanding of Deloitte</a:t>
            </a:r>
          </a:p>
        </p:txBody>
      </p:sp>
      <p:cxnSp>
        <p:nvCxnSpPr>
          <p:cNvPr id="260" name="Straight Connector 259">
            <a:extLst>
              <a:ext uri="{FF2B5EF4-FFF2-40B4-BE49-F238E27FC236}">
                <a16:creationId xmlns:a16="http://schemas.microsoft.com/office/drawing/2014/main" id="{EB3E64F3-D783-48AB-A311-E1E7CA199B32}"/>
              </a:ext>
            </a:extLst>
          </p:cNvPr>
          <p:cNvCxnSpPr>
            <a:cxnSpLocks/>
          </p:cNvCxnSpPr>
          <p:nvPr/>
        </p:nvCxnSpPr>
        <p:spPr>
          <a:xfrm>
            <a:off x="813048" y="5242119"/>
            <a:ext cx="10698480" cy="0"/>
          </a:xfrm>
          <a:prstGeom prst="line">
            <a:avLst/>
          </a:prstGeom>
          <a:noFill/>
          <a:ln w="12700" cap="flat" cmpd="sng" algn="ctr">
            <a:solidFill>
              <a:srgbClr val="FFFFFF">
                <a:lumMod val="50000"/>
              </a:srgbClr>
            </a:solidFill>
            <a:prstDash val="solid"/>
            <a:miter lim="800000"/>
            <a:tailEnd type="triangle"/>
          </a:ln>
          <a:effectLst/>
        </p:spPr>
      </p:cxnSp>
      <p:sp>
        <p:nvSpPr>
          <p:cNvPr id="261" name="TextBox 260">
            <a:extLst>
              <a:ext uri="{FF2B5EF4-FFF2-40B4-BE49-F238E27FC236}">
                <a16:creationId xmlns:a16="http://schemas.microsoft.com/office/drawing/2014/main" id="{3B7EB5B9-4B2B-4DD2-BBAE-6971E2DC8B4C}"/>
              </a:ext>
            </a:extLst>
          </p:cNvPr>
          <p:cNvSpPr txBox="1"/>
          <p:nvPr/>
        </p:nvSpPr>
        <p:spPr>
          <a:xfrm>
            <a:off x="159054" y="5350140"/>
            <a:ext cx="1307987" cy="307777"/>
          </a:xfrm>
          <a:prstGeom prst="rect">
            <a:avLst/>
          </a:prstGeom>
          <a:noFill/>
        </p:spPr>
        <p:txBody>
          <a:bodyPr wrap="none" rtlCol="0">
            <a:spAutoFit/>
          </a:bodyPr>
          <a:lstStyle/>
          <a:p>
            <a:pPr algn="ctr"/>
            <a:r>
              <a:rPr lang="en-US" sz="1400" b="1" dirty="0">
                <a:solidFill>
                  <a:srgbClr val="000000"/>
                </a:solidFill>
                <a:latin typeface="Open Sans"/>
              </a:rPr>
              <a:t>College Grad</a:t>
            </a:r>
          </a:p>
        </p:txBody>
      </p:sp>
      <p:sp>
        <p:nvSpPr>
          <p:cNvPr id="262" name="Rectangle: Rounded Corners 261">
            <a:extLst>
              <a:ext uri="{FF2B5EF4-FFF2-40B4-BE49-F238E27FC236}">
                <a16:creationId xmlns:a16="http://schemas.microsoft.com/office/drawing/2014/main" id="{B956126A-95F7-4D42-BD8F-642BC84F5CB1}"/>
              </a:ext>
            </a:extLst>
          </p:cNvPr>
          <p:cNvSpPr/>
          <p:nvPr/>
        </p:nvSpPr>
        <p:spPr>
          <a:xfrm>
            <a:off x="3428207" y="2483695"/>
            <a:ext cx="2212900" cy="275183"/>
          </a:xfrm>
          <a:prstGeom prst="roundRect">
            <a:avLst/>
          </a:prstGeom>
          <a:solidFill>
            <a:srgbClr val="0070C0"/>
          </a:solidFill>
          <a:ln w="12700" cap="flat" cmpd="sng" algn="ctr">
            <a:solidFill>
              <a:srgbClr val="FFFFFF">
                <a:lumMod val="50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Open Sans"/>
                <a:ea typeface="+mn-ea"/>
                <a:cs typeface="+mn-cs"/>
              </a:rPr>
              <a:t>Statistics Majors</a:t>
            </a:r>
          </a:p>
        </p:txBody>
      </p:sp>
      <p:sp>
        <p:nvSpPr>
          <p:cNvPr id="263" name="TextBox 262">
            <a:extLst>
              <a:ext uri="{FF2B5EF4-FFF2-40B4-BE49-F238E27FC236}">
                <a16:creationId xmlns:a16="http://schemas.microsoft.com/office/drawing/2014/main" id="{2BAAB775-0016-45C5-8B62-9CCEEBF14D54}"/>
              </a:ext>
            </a:extLst>
          </p:cNvPr>
          <p:cNvSpPr txBox="1"/>
          <p:nvPr/>
        </p:nvSpPr>
        <p:spPr>
          <a:xfrm>
            <a:off x="231816" y="2174393"/>
            <a:ext cx="885178" cy="830997"/>
          </a:xfrm>
          <a:prstGeom prst="rect">
            <a:avLst/>
          </a:prstGeom>
          <a:noFill/>
        </p:spPr>
        <p:txBody>
          <a:bodyPr wrap="none" rtlCol="0">
            <a:spAutoFit/>
          </a:bodyPr>
          <a:lstStyle/>
          <a:p>
            <a:pPr algn="r"/>
            <a:r>
              <a:rPr lang="en-US" sz="1200" b="1" dirty="0">
                <a:solidFill>
                  <a:srgbClr val="000000"/>
                </a:solidFill>
                <a:latin typeface="Open Sans"/>
              </a:rPr>
              <a:t>Target </a:t>
            </a:r>
            <a:br>
              <a:rPr lang="en-US" sz="1200" b="1" dirty="0">
                <a:solidFill>
                  <a:srgbClr val="000000"/>
                </a:solidFill>
                <a:latin typeface="Open Sans"/>
              </a:rPr>
            </a:br>
            <a:r>
              <a:rPr lang="en-US" sz="1200" b="1" dirty="0">
                <a:solidFill>
                  <a:srgbClr val="000000"/>
                </a:solidFill>
                <a:latin typeface="Open Sans"/>
              </a:rPr>
              <a:t>Campus</a:t>
            </a:r>
          </a:p>
          <a:p>
            <a:pPr algn="r"/>
            <a:r>
              <a:rPr lang="en-US" sz="1200" b="1" dirty="0">
                <a:solidFill>
                  <a:srgbClr val="000000"/>
                </a:solidFill>
                <a:latin typeface="Open Sans"/>
              </a:rPr>
              <a:t>Hire</a:t>
            </a:r>
          </a:p>
          <a:p>
            <a:pPr algn="r"/>
            <a:r>
              <a:rPr lang="en-US" sz="1200" b="1" dirty="0">
                <a:solidFill>
                  <a:srgbClr val="000000"/>
                </a:solidFill>
                <a:latin typeface="Open Sans"/>
              </a:rPr>
              <a:t>Personas</a:t>
            </a:r>
          </a:p>
        </p:txBody>
      </p:sp>
      <p:sp>
        <p:nvSpPr>
          <p:cNvPr id="264" name="Rectangle: Rounded Corners 263">
            <a:extLst>
              <a:ext uri="{FF2B5EF4-FFF2-40B4-BE49-F238E27FC236}">
                <a16:creationId xmlns:a16="http://schemas.microsoft.com/office/drawing/2014/main" id="{6141244B-A8C4-454A-ACC0-DAE26A0E3038}"/>
              </a:ext>
            </a:extLst>
          </p:cNvPr>
          <p:cNvSpPr/>
          <p:nvPr/>
        </p:nvSpPr>
        <p:spPr>
          <a:xfrm>
            <a:off x="9643790" y="2483695"/>
            <a:ext cx="2212900" cy="275183"/>
          </a:xfrm>
          <a:prstGeom prst="roundRect">
            <a:avLst/>
          </a:prstGeom>
          <a:solidFill>
            <a:srgbClr val="0070C0"/>
          </a:solidFill>
          <a:ln w="12700" cap="flat" cmpd="sng" algn="ctr">
            <a:solidFill>
              <a:srgbClr val="FFFFFF">
                <a:lumMod val="50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Open Sans"/>
                <a:ea typeface="+mn-ea"/>
                <a:cs typeface="+mn-cs"/>
              </a:rPr>
              <a:t>AI Use Cases &amp; Applications</a:t>
            </a:r>
          </a:p>
        </p:txBody>
      </p:sp>
      <p:sp>
        <p:nvSpPr>
          <p:cNvPr id="265" name="TextBox 264">
            <a:extLst>
              <a:ext uri="{FF2B5EF4-FFF2-40B4-BE49-F238E27FC236}">
                <a16:creationId xmlns:a16="http://schemas.microsoft.com/office/drawing/2014/main" id="{61AF6387-06CC-4945-AB57-ADD6027C7772}"/>
              </a:ext>
            </a:extLst>
          </p:cNvPr>
          <p:cNvSpPr txBox="1"/>
          <p:nvPr/>
        </p:nvSpPr>
        <p:spPr>
          <a:xfrm>
            <a:off x="6357313" y="2174393"/>
            <a:ext cx="990977" cy="461665"/>
          </a:xfrm>
          <a:prstGeom prst="rect">
            <a:avLst/>
          </a:prstGeom>
          <a:noFill/>
        </p:spPr>
        <p:txBody>
          <a:bodyPr wrap="none" rtlCol="0">
            <a:spAutoFit/>
          </a:bodyPr>
          <a:lstStyle/>
          <a:p>
            <a:pPr algn="r"/>
            <a:r>
              <a:rPr lang="en-US" sz="1200" b="1">
                <a:solidFill>
                  <a:srgbClr val="000000"/>
                </a:solidFill>
                <a:latin typeface="Open Sans"/>
              </a:rPr>
              <a:t>Program</a:t>
            </a:r>
          </a:p>
          <a:p>
            <a:pPr algn="r"/>
            <a:r>
              <a:rPr lang="en-US" sz="1200" b="1">
                <a:solidFill>
                  <a:srgbClr val="000000"/>
                </a:solidFill>
                <a:latin typeface="Open Sans"/>
              </a:rPr>
              <a:t>Objectives</a:t>
            </a:r>
          </a:p>
        </p:txBody>
      </p:sp>
      <p:grpSp>
        <p:nvGrpSpPr>
          <p:cNvPr id="266" name="Group 265">
            <a:extLst>
              <a:ext uri="{FF2B5EF4-FFF2-40B4-BE49-F238E27FC236}">
                <a16:creationId xmlns:a16="http://schemas.microsoft.com/office/drawing/2014/main" id="{93529282-EECA-45C3-9E1D-2884DB3C905D}"/>
              </a:ext>
            </a:extLst>
          </p:cNvPr>
          <p:cNvGrpSpPr/>
          <p:nvPr/>
        </p:nvGrpSpPr>
        <p:grpSpPr>
          <a:xfrm>
            <a:off x="5765056" y="1355445"/>
            <a:ext cx="630671" cy="560218"/>
            <a:chOff x="2043954" y="2170600"/>
            <a:chExt cx="4822454" cy="4283733"/>
          </a:xfrm>
        </p:grpSpPr>
        <p:sp>
          <p:nvSpPr>
            <p:cNvPr id="267" name="Rounded Rectangle 60">
              <a:extLst>
                <a:ext uri="{FF2B5EF4-FFF2-40B4-BE49-F238E27FC236}">
                  <a16:creationId xmlns:a16="http://schemas.microsoft.com/office/drawing/2014/main" id="{AE19EB5F-006F-45EA-A3A3-122265C9892E}"/>
                </a:ext>
              </a:extLst>
            </p:cNvPr>
            <p:cNvSpPr/>
            <p:nvPr/>
          </p:nvSpPr>
          <p:spPr>
            <a:xfrm>
              <a:off x="2043954" y="3708036"/>
              <a:ext cx="4822454" cy="1218341"/>
            </a:xfrm>
            <a:prstGeom prst="roundRect">
              <a:avLst>
                <a:gd name="adj" fmla="val 50000"/>
              </a:avLst>
            </a:prstGeom>
            <a:solidFill>
              <a:srgbClr val="86F200">
                <a:lumMod val="75000"/>
                <a:alpha val="6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Lato Light" panose="020F0502020204030203" pitchFamily="34" charset="0"/>
                <a:ea typeface="+mn-ea"/>
                <a:cs typeface="+mn-cs"/>
              </a:endParaRPr>
            </a:p>
          </p:txBody>
        </p:sp>
        <p:sp>
          <p:nvSpPr>
            <p:cNvPr id="268" name="Rounded Rectangle 63">
              <a:extLst>
                <a:ext uri="{FF2B5EF4-FFF2-40B4-BE49-F238E27FC236}">
                  <a16:creationId xmlns:a16="http://schemas.microsoft.com/office/drawing/2014/main" id="{209F6C14-40BB-482A-A109-0C8290E360A3}"/>
                </a:ext>
              </a:extLst>
            </p:cNvPr>
            <p:cNvSpPr/>
            <p:nvPr/>
          </p:nvSpPr>
          <p:spPr>
            <a:xfrm rot="18893649">
              <a:off x="4153790" y="4346243"/>
              <a:ext cx="2997839" cy="1218341"/>
            </a:xfrm>
            <a:prstGeom prst="roundRect">
              <a:avLst>
                <a:gd name="adj" fmla="val 50000"/>
              </a:avLst>
            </a:prstGeom>
            <a:solidFill>
              <a:srgbClr val="86F200">
                <a:lumMod val="75000"/>
                <a:alpha val="6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Lato Light" panose="020F0502020204030203" pitchFamily="34" charset="0"/>
                <a:ea typeface="+mn-ea"/>
                <a:cs typeface="+mn-cs"/>
              </a:endParaRPr>
            </a:p>
          </p:txBody>
        </p:sp>
        <p:sp>
          <p:nvSpPr>
            <p:cNvPr id="269" name="Rounded Rectangle 62">
              <a:extLst>
                <a:ext uri="{FF2B5EF4-FFF2-40B4-BE49-F238E27FC236}">
                  <a16:creationId xmlns:a16="http://schemas.microsoft.com/office/drawing/2014/main" id="{45EBE247-49C1-403E-A847-5CB9D34CD9D7}"/>
                </a:ext>
              </a:extLst>
            </p:cNvPr>
            <p:cNvSpPr/>
            <p:nvPr/>
          </p:nvSpPr>
          <p:spPr>
            <a:xfrm rot="2717866">
              <a:off x="4155914" y="3060349"/>
              <a:ext cx="2997839" cy="1218341"/>
            </a:xfrm>
            <a:prstGeom prst="roundRect">
              <a:avLst>
                <a:gd name="adj" fmla="val 50000"/>
              </a:avLst>
            </a:prstGeom>
            <a:solidFill>
              <a:srgbClr val="86F200">
                <a:lumMod val="75000"/>
                <a:alpha val="6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Lato Light" panose="020F0502020204030203" pitchFamily="34" charset="0"/>
                <a:ea typeface="+mn-ea"/>
                <a:cs typeface="+mn-cs"/>
              </a:endParaRPr>
            </a:p>
          </p:txBody>
        </p:sp>
      </p:grpSp>
      <p:cxnSp>
        <p:nvCxnSpPr>
          <p:cNvPr id="270" name="Straight Connector 269">
            <a:extLst>
              <a:ext uri="{FF2B5EF4-FFF2-40B4-BE49-F238E27FC236}">
                <a16:creationId xmlns:a16="http://schemas.microsoft.com/office/drawing/2014/main" id="{C1A2A707-640A-4617-8962-F58DDD7A3AF6}"/>
              </a:ext>
            </a:extLst>
          </p:cNvPr>
          <p:cNvCxnSpPr>
            <a:cxnSpLocks/>
          </p:cNvCxnSpPr>
          <p:nvPr/>
        </p:nvCxnSpPr>
        <p:spPr>
          <a:xfrm>
            <a:off x="6080391" y="1974290"/>
            <a:ext cx="0" cy="3151354"/>
          </a:xfrm>
          <a:prstGeom prst="line">
            <a:avLst/>
          </a:prstGeom>
          <a:noFill/>
          <a:ln w="6350" cap="flat" cmpd="sng" algn="ctr">
            <a:solidFill>
              <a:sysClr val="window" lastClr="FFFFFF">
                <a:lumMod val="85000"/>
              </a:sysClr>
            </a:solidFill>
            <a:prstDash val="dash"/>
            <a:miter lim="800000"/>
          </a:ln>
          <a:effectLst/>
        </p:spPr>
      </p:cxnSp>
      <p:sp>
        <p:nvSpPr>
          <p:cNvPr id="271" name="Freeform 241">
            <a:extLst>
              <a:ext uri="{FF2B5EF4-FFF2-40B4-BE49-F238E27FC236}">
                <a16:creationId xmlns:a16="http://schemas.microsoft.com/office/drawing/2014/main" id="{693E45A8-DBB5-43E1-9C3D-E84D356E0C8D}"/>
              </a:ext>
            </a:extLst>
          </p:cNvPr>
          <p:cNvSpPr>
            <a:spLocks noChangeArrowheads="1"/>
          </p:cNvSpPr>
          <p:nvPr/>
        </p:nvSpPr>
        <p:spPr bwMode="auto">
          <a:xfrm flipH="1">
            <a:off x="9971820" y="4175053"/>
            <a:ext cx="1294457" cy="694284"/>
          </a:xfrm>
          <a:prstGeom prst="cube">
            <a:avLst/>
          </a:prstGeom>
          <a:solidFill>
            <a:srgbClr val="5777BF"/>
          </a:solidFill>
          <a:ln>
            <a:solidFill>
              <a:srgbClr val="002060"/>
            </a:solidFill>
            <a:prstDash val="solid"/>
          </a:ln>
          <a:effectLst/>
        </p:spPr>
        <p:txBody>
          <a:bodyPr wrap="square" tIns="548640" anchor="ctr"/>
          <a:lstStyle/>
          <a:p>
            <a:pPr algn="ctr">
              <a:defRPr/>
            </a:pPr>
            <a:endParaRPr lang="en-US" sz="1000" b="1">
              <a:solidFill>
                <a:srgbClr val="000000"/>
              </a:solidFill>
              <a:latin typeface="Open Sans"/>
            </a:endParaRPr>
          </a:p>
        </p:txBody>
      </p:sp>
      <p:sp>
        <p:nvSpPr>
          <p:cNvPr id="272" name="Freeform 241">
            <a:extLst>
              <a:ext uri="{FF2B5EF4-FFF2-40B4-BE49-F238E27FC236}">
                <a16:creationId xmlns:a16="http://schemas.microsoft.com/office/drawing/2014/main" id="{B04C2B23-E470-4A5F-B1CE-23AAFEC878EE}"/>
              </a:ext>
            </a:extLst>
          </p:cNvPr>
          <p:cNvSpPr>
            <a:spLocks noChangeArrowheads="1"/>
          </p:cNvSpPr>
          <p:nvPr/>
        </p:nvSpPr>
        <p:spPr bwMode="auto">
          <a:xfrm flipH="1">
            <a:off x="8735322" y="4175053"/>
            <a:ext cx="1294457" cy="694284"/>
          </a:xfrm>
          <a:prstGeom prst="cube">
            <a:avLst/>
          </a:prstGeom>
          <a:solidFill>
            <a:srgbClr val="5777BF"/>
          </a:solidFill>
          <a:ln>
            <a:solidFill>
              <a:srgbClr val="002060"/>
            </a:solidFill>
          </a:ln>
          <a:effectLst/>
        </p:spPr>
        <p:txBody>
          <a:bodyPr wrap="square" tIns="548640" anchor="ctr"/>
          <a:lstStyle/>
          <a:p>
            <a:pPr algn="ctr">
              <a:defRPr/>
            </a:pPr>
            <a:endParaRPr lang="en-US" sz="1000" b="1">
              <a:solidFill>
                <a:srgbClr val="000000"/>
              </a:solidFill>
              <a:latin typeface="Open Sans"/>
            </a:endParaRPr>
          </a:p>
        </p:txBody>
      </p:sp>
      <p:sp>
        <p:nvSpPr>
          <p:cNvPr id="273" name="Freeform 241">
            <a:extLst>
              <a:ext uri="{FF2B5EF4-FFF2-40B4-BE49-F238E27FC236}">
                <a16:creationId xmlns:a16="http://schemas.microsoft.com/office/drawing/2014/main" id="{156BB90C-15B4-40F5-996A-655400FD41CA}"/>
              </a:ext>
            </a:extLst>
          </p:cNvPr>
          <p:cNvSpPr>
            <a:spLocks noChangeArrowheads="1"/>
          </p:cNvSpPr>
          <p:nvPr/>
        </p:nvSpPr>
        <p:spPr bwMode="auto">
          <a:xfrm flipH="1">
            <a:off x="7498823" y="4175053"/>
            <a:ext cx="1294457" cy="694284"/>
          </a:xfrm>
          <a:prstGeom prst="cube">
            <a:avLst/>
          </a:prstGeom>
          <a:solidFill>
            <a:srgbClr val="5777BF"/>
          </a:solidFill>
          <a:ln>
            <a:solidFill>
              <a:srgbClr val="002060"/>
            </a:solidFill>
          </a:ln>
          <a:effectLst/>
        </p:spPr>
        <p:txBody>
          <a:bodyPr wrap="square" tIns="548640" anchor="ctr"/>
          <a:lstStyle/>
          <a:p>
            <a:pPr algn="ctr">
              <a:defRPr/>
            </a:pPr>
            <a:endParaRPr lang="en-US" sz="1000" b="1">
              <a:solidFill>
                <a:srgbClr val="000000"/>
              </a:solidFill>
              <a:latin typeface="Open Sans"/>
            </a:endParaRPr>
          </a:p>
        </p:txBody>
      </p:sp>
      <p:sp>
        <p:nvSpPr>
          <p:cNvPr id="274" name="TextBox 273">
            <a:extLst>
              <a:ext uri="{FF2B5EF4-FFF2-40B4-BE49-F238E27FC236}">
                <a16:creationId xmlns:a16="http://schemas.microsoft.com/office/drawing/2014/main" id="{631421CF-4CCE-42C5-B54F-0DEB529B897E}"/>
              </a:ext>
            </a:extLst>
          </p:cNvPr>
          <p:cNvSpPr txBox="1"/>
          <p:nvPr/>
        </p:nvSpPr>
        <p:spPr>
          <a:xfrm>
            <a:off x="7715025" y="4411293"/>
            <a:ext cx="1003801" cy="400110"/>
          </a:xfrm>
          <a:prstGeom prst="rect">
            <a:avLst/>
          </a:prstGeom>
          <a:noFill/>
        </p:spPr>
        <p:txBody>
          <a:bodyPr wrap="none" rtlCol="0">
            <a:spAutoFit/>
          </a:bodyPr>
          <a:lstStyle/>
          <a:p>
            <a:pPr algn="ctr"/>
            <a:r>
              <a:rPr lang="en-US" sz="1000">
                <a:solidFill>
                  <a:srgbClr val="FFFFFF"/>
                </a:solidFill>
                <a:latin typeface="Open Sans"/>
              </a:rPr>
              <a:t>Core</a:t>
            </a:r>
          </a:p>
          <a:p>
            <a:pPr algn="ctr"/>
            <a:r>
              <a:rPr lang="en-US" sz="1000">
                <a:solidFill>
                  <a:srgbClr val="FFFFFF"/>
                </a:solidFill>
                <a:latin typeface="Open Sans"/>
              </a:rPr>
              <a:t>Programming</a:t>
            </a:r>
          </a:p>
        </p:txBody>
      </p:sp>
      <p:sp>
        <p:nvSpPr>
          <p:cNvPr id="275" name="TextBox 274">
            <a:extLst>
              <a:ext uri="{FF2B5EF4-FFF2-40B4-BE49-F238E27FC236}">
                <a16:creationId xmlns:a16="http://schemas.microsoft.com/office/drawing/2014/main" id="{5902801D-CE18-40C0-B858-F44640C7167A}"/>
              </a:ext>
            </a:extLst>
          </p:cNvPr>
          <p:cNvSpPr txBox="1"/>
          <p:nvPr/>
        </p:nvSpPr>
        <p:spPr>
          <a:xfrm>
            <a:off x="8892854" y="4411293"/>
            <a:ext cx="1241290" cy="400110"/>
          </a:xfrm>
          <a:prstGeom prst="rect">
            <a:avLst/>
          </a:prstGeom>
          <a:noFill/>
        </p:spPr>
        <p:txBody>
          <a:bodyPr wrap="none" rtlCol="0">
            <a:spAutoFit/>
          </a:bodyPr>
          <a:lstStyle/>
          <a:p>
            <a:pPr algn="ctr"/>
            <a:r>
              <a:rPr lang="en-US" sz="1000">
                <a:solidFill>
                  <a:srgbClr val="FFFFFF"/>
                </a:solidFill>
                <a:latin typeface="Open Sans"/>
              </a:rPr>
              <a:t>Math and</a:t>
            </a:r>
          </a:p>
          <a:p>
            <a:pPr algn="ctr"/>
            <a:r>
              <a:rPr lang="en-US" sz="1000">
                <a:solidFill>
                  <a:srgbClr val="FFFFFF"/>
                </a:solidFill>
                <a:latin typeface="Open Sans"/>
              </a:rPr>
              <a:t>Statistics</a:t>
            </a:r>
          </a:p>
        </p:txBody>
      </p:sp>
      <p:sp>
        <p:nvSpPr>
          <p:cNvPr id="276" name="TextBox 275">
            <a:extLst>
              <a:ext uri="{FF2B5EF4-FFF2-40B4-BE49-F238E27FC236}">
                <a16:creationId xmlns:a16="http://schemas.microsoft.com/office/drawing/2014/main" id="{3CC9AA14-FC64-4918-BA6A-60426FFED9B1}"/>
              </a:ext>
            </a:extLst>
          </p:cNvPr>
          <p:cNvSpPr txBox="1"/>
          <p:nvPr/>
        </p:nvSpPr>
        <p:spPr>
          <a:xfrm>
            <a:off x="10325002" y="4478022"/>
            <a:ext cx="748924" cy="246221"/>
          </a:xfrm>
          <a:prstGeom prst="rect">
            <a:avLst/>
          </a:prstGeom>
          <a:noFill/>
        </p:spPr>
        <p:txBody>
          <a:bodyPr wrap="none" rtlCol="0">
            <a:spAutoFit/>
          </a:bodyPr>
          <a:lstStyle/>
          <a:p>
            <a:pPr algn="ctr"/>
            <a:r>
              <a:rPr lang="en-US" sz="1000" dirty="0">
                <a:solidFill>
                  <a:srgbClr val="FFFFFF"/>
                </a:solidFill>
                <a:latin typeface="Open Sans"/>
              </a:rPr>
              <a:t>Soft Skills</a:t>
            </a:r>
          </a:p>
        </p:txBody>
      </p:sp>
      <p:sp>
        <p:nvSpPr>
          <p:cNvPr id="277" name="Freeform 241">
            <a:extLst>
              <a:ext uri="{FF2B5EF4-FFF2-40B4-BE49-F238E27FC236}">
                <a16:creationId xmlns:a16="http://schemas.microsoft.com/office/drawing/2014/main" id="{52E1380A-46E4-4297-84E9-ABECEAF04A99}"/>
              </a:ext>
            </a:extLst>
          </p:cNvPr>
          <p:cNvSpPr>
            <a:spLocks noChangeArrowheads="1"/>
          </p:cNvSpPr>
          <p:nvPr/>
        </p:nvSpPr>
        <p:spPr bwMode="auto">
          <a:xfrm flipH="1">
            <a:off x="9953295" y="3602620"/>
            <a:ext cx="1294457" cy="694284"/>
          </a:xfrm>
          <a:prstGeom prst="cube">
            <a:avLst/>
          </a:prstGeom>
          <a:solidFill>
            <a:srgbClr val="5777BF"/>
          </a:solidFill>
          <a:ln>
            <a:solidFill>
              <a:srgbClr val="002060"/>
            </a:solidFill>
            <a:prstDash val="solid"/>
          </a:ln>
          <a:effectLst/>
        </p:spPr>
        <p:txBody>
          <a:bodyPr wrap="square" tIns="548640" anchor="ctr"/>
          <a:lstStyle/>
          <a:p>
            <a:pPr algn="ctr">
              <a:defRPr/>
            </a:pPr>
            <a:endParaRPr lang="en-US" sz="1000" b="1">
              <a:solidFill>
                <a:srgbClr val="000000"/>
              </a:solidFill>
              <a:latin typeface="Open Sans"/>
            </a:endParaRPr>
          </a:p>
        </p:txBody>
      </p:sp>
      <p:sp>
        <p:nvSpPr>
          <p:cNvPr id="278" name="TextBox 277">
            <a:extLst>
              <a:ext uri="{FF2B5EF4-FFF2-40B4-BE49-F238E27FC236}">
                <a16:creationId xmlns:a16="http://schemas.microsoft.com/office/drawing/2014/main" id="{87221244-CD4A-437D-AFE5-2125F8FE901D}"/>
              </a:ext>
            </a:extLst>
          </p:cNvPr>
          <p:cNvSpPr txBox="1"/>
          <p:nvPr/>
        </p:nvSpPr>
        <p:spPr>
          <a:xfrm>
            <a:off x="10254923" y="3840830"/>
            <a:ext cx="909223" cy="400110"/>
          </a:xfrm>
          <a:prstGeom prst="rect">
            <a:avLst/>
          </a:prstGeom>
          <a:noFill/>
        </p:spPr>
        <p:txBody>
          <a:bodyPr wrap="none" rtlCol="0">
            <a:spAutoFit/>
          </a:bodyPr>
          <a:lstStyle/>
          <a:p>
            <a:pPr algn="ctr"/>
            <a:r>
              <a:rPr lang="en-US" sz="1000" dirty="0">
                <a:solidFill>
                  <a:srgbClr val="FFFFFF"/>
                </a:solidFill>
                <a:latin typeface="Open Sans"/>
              </a:rPr>
              <a:t>Trustworthy</a:t>
            </a:r>
          </a:p>
          <a:p>
            <a:pPr algn="ctr"/>
            <a:r>
              <a:rPr lang="en-US" sz="1000" dirty="0">
                <a:solidFill>
                  <a:srgbClr val="FFFFFF"/>
                </a:solidFill>
                <a:latin typeface="Open Sans"/>
              </a:rPr>
              <a:t>AI</a:t>
            </a:r>
            <a:r>
              <a:rPr lang="en-US" sz="1000" baseline="30000" dirty="0">
                <a:solidFill>
                  <a:srgbClr val="FFFFFF"/>
                </a:solidFill>
                <a:latin typeface="Open Sans"/>
              </a:rPr>
              <a:t>TM</a:t>
            </a:r>
            <a:endParaRPr lang="en-US" sz="1000" dirty="0">
              <a:solidFill>
                <a:srgbClr val="FFFFFF"/>
              </a:solidFill>
              <a:latin typeface="Open Sans"/>
            </a:endParaRPr>
          </a:p>
        </p:txBody>
      </p:sp>
      <p:sp>
        <p:nvSpPr>
          <p:cNvPr id="279" name="Freeform 241">
            <a:extLst>
              <a:ext uri="{FF2B5EF4-FFF2-40B4-BE49-F238E27FC236}">
                <a16:creationId xmlns:a16="http://schemas.microsoft.com/office/drawing/2014/main" id="{4DA6DA15-547C-4E14-A046-2F476D7D32D5}"/>
              </a:ext>
            </a:extLst>
          </p:cNvPr>
          <p:cNvSpPr>
            <a:spLocks noChangeArrowheads="1"/>
          </p:cNvSpPr>
          <p:nvPr/>
        </p:nvSpPr>
        <p:spPr bwMode="auto">
          <a:xfrm flipH="1">
            <a:off x="8728807" y="3600142"/>
            <a:ext cx="1294457" cy="694284"/>
          </a:xfrm>
          <a:prstGeom prst="cube">
            <a:avLst/>
          </a:prstGeom>
          <a:solidFill>
            <a:srgbClr val="5777BF"/>
          </a:solidFill>
          <a:ln>
            <a:solidFill>
              <a:srgbClr val="002060"/>
            </a:solidFill>
            <a:prstDash val="solid"/>
          </a:ln>
          <a:effectLst/>
        </p:spPr>
        <p:txBody>
          <a:bodyPr wrap="square" tIns="548640" anchor="ctr"/>
          <a:lstStyle/>
          <a:p>
            <a:pPr algn="ctr">
              <a:defRPr/>
            </a:pPr>
            <a:endParaRPr lang="en-US" sz="1000" b="1">
              <a:solidFill>
                <a:srgbClr val="000000"/>
              </a:solidFill>
              <a:latin typeface="Open Sans"/>
            </a:endParaRPr>
          </a:p>
        </p:txBody>
      </p:sp>
      <p:sp>
        <p:nvSpPr>
          <p:cNvPr id="280" name="TextBox 279">
            <a:extLst>
              <a:ext uri="{FF2B5EF4-FFF2-40B4-BE49-F238E27FC236}">
                <a16:creationId xmlns:a16="http://schemas.microsoft.com/office/drawing/2014/main" id="{7130497E-3DD7-4B6A-BAB5-DF08856EBFCF}"/>
              </a:ext>
            </a:extLst>
          </p:cNvPr>
          <p:cNvSpPr txBox="1"/>
          <p:nvPr/>
        </p:nvSpPr>
        <p:spPr>
          <a:xfrm>
            <a:off x="9095199" y="3920767"/>
            <a:ext cx="779381" cy="246221"/>
          </a:xfrm>
          <a:prstGeom prst="rect">
            <a:avLst/>
          </a:prstGeom>
          <a:noFill/>
        </p:spPr>
        <p:txBody>
          <a:bodyPr wrap="none" rtlCol="0">
            <a:spAutoFit/>
          </a:bodyPr>
          <a:lstStyle/>
          <a:p>
            <a:pPr algn="ctr"/>
            <a:r>
              <a:rPr lang="en-US" sz="1000" dirty="0">
                <a:solidFill>
                  <a:srgbClr val="FFFFFF"/>
                </a:solidFill>
                <a:latin typeface="Open Sans"/>
              </a:rPr>
              <a:t>AI and ML</a:t>
            </a:r>
          </a:p>
        </p:txBody>
      </p:sp>
      <p:sp>
        <p:nvSpPr>
          <p:cNvPr id="281" name="Freeform 241">
            <a:extLst>
              <a:ext uri="{FF2B5EF4-FFF2-40B4-BE49-F238E27FC236}">
                <a16:creationId xmlns:a16="http://schemas.microsoft.com/office/drawing/2014/main" id="{3A25632C-6693-4914-8206-EE52EBF1875B}"/>
              </a:ext>
            </a:extLst>
          </p:cNvPr>
          <p:cNvSpPr>
            <a:spLocks noChangeArrowheads="1"/>
          </p:cNvSpPr>
          <p:nvPr/>
        </p:nvSpPr>
        <p:spPr bwMode="auto">
          <a:xfrm flipH="1">
            <a:off x="7498823" y="3605837"/>
            <a:ext cx="1294457" cy="694284"/>
          </a:xfrm>
          <a:prstGeom prst="cube">
            <a:avLst/>
          </a:prstGeom>
          <a:solidFill>
            <a:srgbClr val="5777BF"/>
          </a:solidFill>
          <a:ln>
            <a:solidFill>
              <a:srgbClr val="002060"/>
            </a:solidFill>
            <a:prstDash val="solid"/>
          </a:ln>
          <a:effectLst/>
        </p:spPr>
        <p:txBody>
          <a:bodyPr wrap="square" tIns="548640" anchor="ctr"/>
          <a:lstStyle/>
          <a:p>
            <a:pPr algn="ctr">
              <a:defRPr/>
            </a:pPr>
            <a:endParaRPr lang="en-US" sz="1000" b="1">
              <a:solidFill>
                <a:srgbClr val="000000"/>
              </a:solidFill>
              <a:latin typeface="Open Sans"/>
            </a:endParaRPr>
          </a:p>
        </p:txBody>
      </p:sp>
      <p:sp>
        <p:nvSpPr>
          <p:cNvPr id="282" name="TextBox 281">
            <a:extLst>
              <a:ext uri="{FF2B5EF4-FFF2-40B4-BE49-F238E27FC236}">
                <a16:creationId xmlns:a16="http://schemas.microsoft.com/office/drawing/2014/main" id="{1CA0A07A-B5CC-47C2-80BC-72FE7DCD0508}"/>
              </a:ext>
            </a:extLst>
          </p:cNvPr>
          <p:cNvSpPr txBox="1"/>
          <p:nvPr/>
        </p:nvSpPr>
        <p:spPr>
          <a:xfrm>
            <a:off x="7716229" y="3836988"/>
            <a:ext cx="1034257" cy="400110"/>
          </a:xfrm>
          <a:prstGeom prst="rect">
            <a:avLst/>
          </a:prstGeom>
          <a:noFill/>
        </p:spPr>
        <p:txBody>
          <a:bodyPr wrap="none" rtlCol="0">
            <a:spAutoFit/>
          </a:bodyPr>
          <a:lstStyle/>
          <a:p>
            <a:pPr algn="ctr"/>
            <a:r>
              <a:rPr lang="en-US" sz="1000" dirty="0">
                <a:solidFill>
                  <a:srgbClr val="FFFFFF"/>
                </a:solidFill>
                <a:latin typeface="Open Sans"/>
              </a:rPr>
              <a:t>Core Data</a:t>
            </a:r>
          </a:p>
          <a:p>
            <a:pPr algn="ctr"/>
            <a:r>
              <a:rPr lang="en-US" sz="1000" dirty="0">
                <a:solidFill>
                  <a:srgbClr val="FFFFFF"/>
                </a:solidFill>
                <a:latin typeface="Open Sans"/>
              </a:rPr>
              <a:t>Fundamentals</a:t>
            </a:r>
          </a:p>
        </p:txBody>
      </p:sp>
      <p:sp>
        <p:nvSpPr>
          <p:cNvPr id="283" name="Freeform 241">
            <a:extLst>
              <a:ext uri="{FF2B5EF4-FFF2-40B4-BE49-F238E27FC236}">
                <a16:creationId xmlns:a16="http://schemas.microsoft.com/office/drawing/2014/main" id="{821C4752-2059-4672-A770-5405EFB743A2}"/>
              </a:ext>
            </a:extLst>
          </p:cNvPr>
          <p:cNvSpPr>
            <a:spLocks noChangeArrowheads="1"/>
          </p:cNvSpPr>
          <p:nvPr/>
        </p:nvSpPr>
        <p:spPr bwMode="auto">
          <a:xfrm flipH="1">
            <a:off x="9355328" y="3008079"/>
            <a:ext cx="1294457" cy="694284"/>
          </a:xfrm>
          <a:prstGeom prst="cube">
            <a:avLst/>
          </a:prstGeom>
          <a:solidFill>
            <a:srgbClr val="5777BF"/>
          </a:solidFill>
          <a:ln>
            <a:solidFill>
              <a:srgbClr val="002060"/>
            </a:solidFill>
            <a:prstDash val="solid"/>
          </a:ln>
          <a:effectLst/>
        </p:spPr>
        <p:txBody>
          <a:bodyPr wrap="square" tIns="548640" anchor="ctr"/>
          <a:lstStyle/>
          <a:p>
            <a:pPr algn="ctr">
              <a:defRPr/>
            </a:pPr>
            <a:endParaRPr lang="en-US" sz="1000" b="1">
              <a:solidFill>
                <a:srgbClr val="000000"/>
              </a:solidFill>
              <a:latin typeface="Open Sans"/>
            </a:endParaRPr>
          </a:p>
        </p:txBody>
      </p:sp>
      <p:sp>
        <p:nvSpPr>
          <p:cNvPr id="284" name="TextBox 283">
            <a:extLst>
              <a:ext uri="{FF2B5EF4-FFF2-40B4-BE49-F238E27FC236}">
                <a16:creationId xmlns:a16="http://schemas.microsoft.com/office/drawing/2014/main" id="{2A5E0D5B-FD42-40BC-A326-ADB05DAFF3A6}"/>
              </a:ext>
            </a:extLst>
          </p:cNvPr>
          <p:cNvSpPr txBox="1"/>
          <p:nvPr/>
        </p:nvSpPr>
        <p:spPr>
          <a:xfrm>
            <a:off x="9536668" y="3239230"/>
            <a:ext cx="1106393" cy="400110"/>
          </a:xfrm>
          <a:prstGeom prst="rect">
            <a:avLst/>
          </a:prstGeom>
          <a:noFill/>
        </p:spPr>
        <p:txBody>
          <a:bodyPr wrap="none" rtlCol="0">
            <a:spAutoFit/>
          </a:bodyPr>
          <a:lstStyle/>
          <a:p>
            <a:pPr algn="ctr"/>
            <a:r>
              <a:rPr lang="en-US" sz="1000" dirty="0">
                <a:solidFill>
                  <a:srgbClr val="FFFFFF"/>
                </a:solidFill>
                <a:latin typeface="Open Sans"/>
              </a:rPr>
              <a:t>FSS/OP-Specific</a:t>
            </a:r>
          </a:p>
          <a:p>
            <a:pPr algn="ctr"/>
            <a:r>
              <a:rPr lang="en-US" sz="1000" dirty="0">
                <a:solidFill>
                  <a:srgbClr val="FFFFFF"/>
                </a:solidFill>
                <a:latin typeface="Open Sans"/>
              </a:rPr>
              <a:t>Skills</a:t>
            </a:r>
          </a:p>
        </p:txBody>
      </p:sp>
      <p:sp>
        <p:nvSpPr>
          <p:cNvPr id="285" name="Freeform 241">
            <a:extLst>
              <a:ext uri="{FF2B5EF4-FFF2-40B4-BE49-F238E27FC236}">
                <a16:creationId xmlns:a16="http://schemas.microsoft.com/office/drawing/2014/main" id="{927A1E60-C454-4196-B4C1-A2B0CC2256A6}"/>
              </a:ext>
            </a:extLst>
          </p:cNvPr>
          <p:cNvSpPr>
            <a:spLocks noChangeArrowheads="1"/>
          </p:cNvSpPr>
          <p:nvPr/>
        </p:nvSpPr>
        <p:spPr bwMode="auto">
          <a:xfrm flipH="1">
            <a:off x="8082550" y="3000703"/>
            <a:ext cx="1294457" cy="694284"/>
          </a:xfrm>
          <a:prstGeom prst="cube">
            <a:avLst/>
          </a:prstGeom>
          <a:solidFill>
            <a:srgbClr val="5777BF"/>
          </a:solidFill>
          <a:ln>
            <a:solidFill>
              <a:srgbClr val="002060"/>
            </a:solidFill>
            <a:prstDash val="solid"/>
          </a:ln>
          <a:effectLst/>
        </p:spPr>
        <p:txBody>
          <a:bodyPr wrap="square" tIns="548640" anchor="ctr"/>
          <a:lstStyle/>
          <a:p>
            <a:pPr algn="ctr">
              <a:defRPr/>
            </a:pPr>
            <a:endParaRPr lang="en-US" sz="1000" b="1">
              <a:solidFill>
                <a:srgbClr val="000000"/>
              </a:solidFill>
              <a:latin typeface="Open Sans"/>
            </a:endParaRPr>
          </a:p>
        </p:txBody>
      </p:sp>
      <p:sp>
        <p:nvSpPr>
          <p:cNvPr id="286" name="TextBox 285">
            <a:extLst>
              <a:ext uri="{FF2B5EF4-FFF2-40B4-BE49-F238E27FC236}">
                <a16:creationId xmlns:a16="http://schemas.microsoft.com/office/drawing/2014/main" id="{F1863A35-0E4C-44B7-8AAE-804E3E867001}"/>
              </a:ext>
            </a:extLst>
          </p:cNvPr>
          <p:cNvSpPr txBox="1"/>
          <p:nvPr/>
        </p:nvSpPr>
        <p:spPr>
          <a:xfrm>
            <a:off x="8461062" y="3231854"/>
            <a:ext cx="712053" cy="400110"/>
          </a:xfrm>
          <a:prstGeom prst="rect">
            <a:avLst/>
          </a:prstGeom>
          <a:noFill/>
        </p:spPr>
        <p:txBody>
          <a:bodyPr wrap="none" rtlCol="0">
            <a:spAutoFit/>
          </a:bodyPr>
          <a:lstStyle/>
          <a:p>
            <a:pPr algn="ctr"/>
            <a:r>
              <a:rPr lang="en-US" sz="1000" dirty="0">
                <a:solidFill>
                  <a:srgbClr val="FFFFFF"/>
                </a:solidFill>
                <a:latin typeface="Open Sans"/>
              </a:rPr>
              <a:t>Industry </a:t>
            </a:r>
          </a:p>
          <a:p>
            <a:pPr algn="ctr"/>
            <a:r>
              <a:rPr lang="en-US" sz="1000" dirty="0">
                <a:solidFill>
                  <a:srgbClr val="FFFFFF"/>
                </a:solidFill>
                <a:latin typeface="Open Sans"/>
              </a:rPr>
              <a:t>Skills</a:t>
            </a:r>
          </a:p>
        </p:txBody>
      </p:sp>
      <p:sp>
        <p:nvSpPr>
          <p:cNvPr id="287" name="Star: 5 Points 286">
            <a:extLst>
              <a:ext uri="{FF2B5EF4-FFF2-40B4-BE49-F238E27FC236}">
                <a16:creationId xmlns:a16="http://schemas.microsoft.com/office/drawing/2014/main" id="{6E64860A-7F7F-4699-8A7C-9259C0BC71B5}"/>
              </a:ext>
            </a:extLst>
          </p:cNvPr>
          <p:cNvSpPr/>
          <p:nvPr/>
        </p:nvSpPr>
        <p:spPr>
          <a:xfrm>
            <a:off x="678781" y="5077692"/>
            <a:ext cx="275183" cy="275183"/>
          </a:xfrm>
          <a:prstGeom prst="star5">
            <a:avLst/>
          </a:prstGeom>
          <a:solidFill>
            <a:srgbClr val="FFFFFF">
              <a:lumMod val="85000"/>
            </a:srgbClr>
          </a:solidFill>
          <a:ln w="3175"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288" name="Star: 5 Points 287">
            <a:extLst>
              <a:ext uri="{FF2B5EF4-FFF2-40B4-BE49-F238E27FC236}">
                <a16:creationId xmlns:a16="http://schemas.microsoft.com/office/drawing/2014/main" id="{83D0C4A8-BE38-4D9F-8E29-1066B08E8203}"/>
              </a:ext>
            </a:extLst>
          </p:cNvPr>
          <p:cNvSpPr/>
          <p:nvPr/>
        </p:nvSpPr>
        <p:spPr>
          <a:xfrm>
            <a:off x="9297046" y="5077692"/>
            <a:ext cx="275183" cy="275183"/>
          </a:xfrm>
          <a:prstGeom prst="star5">
            <a:avLst/>
          </a:prstGeom>
          <a:solidFill>
            <a:srgbClr val="92D050"/>
          </a:solidFill>
          <a:ln w="3175"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289" name="TextBox 288">
            <a:extLst>
              <a:ext uri="{FF2B5EF4-FFF2-40B4-BE49-F238E27FC236}">
                <a16:creationId xmlns:a16="http://schemas.microsoft.com/office/drawing/2014/main" id="{2D0D5AF6-D8C7-49D1-8E28-0F64865512F4}"/>
              </a:ext>
            </a:extLst>
          </p:cNvPr>
          <p:cNvSpPr txBox="1"/>
          <p:nvPr/>
        </p:nvSpPr>
        <p:spPr>
          <a:xfrm>
            <a:off x="8628490" y="5350140"/>
            <a:ext cx="1552434" cy="307777"/>
          </a:xfrm>
          <a:prstGeom prst="rect">
            <a:avLst/>
          </a:prstGeom>
          <a:solidFill>
            <a:srgbClr val="FFFFFF"/>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Open Sans"/>
              </a:rPr>
              <a:t>Client </a:t>
            </a:r>
            <a:r>
              <a:rPr kumimoji="0" lang="en-US" sz="1400" b="1" i="0" u="none" strike="noStrike" kern="0" cap="none" spc="0" normalizeH="0" baseline="0" noProof="0" dirty="0" err="1">
                <a:ln>
                  <a:noFill/>
                </a:ln>
                <a:solidFill>
                  <a:srgbClr val="000000"/>
                </a:solidFill>
                <a:effectLst/>
                <a:uLnTx/>
                <a:uFillTx/>
                <a:latin typeface="Open Sans"/>
              </a:rPr>
              <a:t>Staffable</a:t>
            </a:r>
            <a:endParaRPr kumimoji="0" lang="en-US" sz="1400" b="1" i="0" u="none" strike="noStrike" kern="0" cap="none" spc="0" normalizeH="0" baseline="0" noProof="0" dirty="0">
              <a:ln>
                <a:noFill/>
              </a:ln>
              <a:solidFill>
                <a:srgbClr val="000000"/>
              </a:solidFill>
              <a:effectLst/>
              <a:uLnTx/>
              <a:uFillTx/>
              <a:latin typeface="Open Sans"/>
            </a:endParaRPr>
          </a:p>
        </p:txBody>
      </p:sp>
      <p:sp>
        <p:nvSpPr>
          <p:cNvPr id="290" name="Arrow: Pentagon 289">
            <a:extLst>
              <a:ext uri="{FF2B5EF4-FFF2-40B4-BE49-F238E27FC236}">
                <a16:creationId xmlns:a16="http://schemas.microsoft.com/office/drawing/2014/main" id="{08FA9E18-5202-41ED-A48D-400C018EB8F9}"/>
              </a:ext>
            </a:extLst>
          </p:cNvPr>
          <p:cNvSpPr/>
          <p:nvPr/>
        </p:nvSpPr>
        <p:spPr>
          <a:xfrm>
            <a:off x="806109" y="5738370"/>
            <a:ext cx="8723621" cy="355327"/>
          </a:xfrm>
          <a:prstGeom prst="homePlate">
            <a:avLst/>
          </a:prstGeom>
          <a:solidFill>
            <a:srgbClr val="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Open Sans"/>
                <a:ea typeface="+mn-ea"/>
                <a:cs typeface="+mn-cs"/>
              </a:rPr>
              <a:t>8 WKS: DELOITTE AI ACADEMY</a:t>
            </a:r>
          </a:p>
        </p:txBody>
      </p:sp>
      <p:sp>
        <p:nvSpPr>
          <p:cNvPr id="291" name="TextBox 290">
            <a:extLst>
              <a:ext uri="{FF2B5EF4-FFF2-40B4-BE49-F238E27FC236}">
                <a16:creationId xmlns:a16="http://schemas.microsoft.com/office/drawing/2014/main" id="{D59D4B4A-8C4D-495A-A34A-AEA37842B80D}"/>
              </a:ext>
            </a:extLst>
          </p:cNvPr>
          <p:cNvSpPr txBox="1"/>
          <p:nvPr/>
        </p:nvSpPr>
        <p:spPr>
          <a:xfrm>
            <a:off x="2527605" y="4980509"/>
            <a:ext cx="5587808" cy="523220"/>
          </a:xfrm>
          <a:prstGeom prst="rect">
            <a:avLst/>
          </a:prstGeom>
          <a:solidFill>
            <a:srgbClr val="FFFFFF"/>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Open Sans"/>
              </a:rPr>
              <a:t>Upskilling candidates from </a:t>
            </a:r>
            <a:r>
              <a:rPr kumimoji="0" lang="en-US" sz="1400" b="1" i="0" u="none" strike="noStrike" kern="0" cap="none" spc="0" normalizeH="0" baseline="0" noProof="0" dirty="0">
                <a:ln>
                  <a:noFill/>
                </a:ln>
                <a:solidFill>
                  <a:srgbClr val="000000"/>
                </a:solidFill>
                <a:effectLst/>
                <a:uLnTx/>
                <a:uFillTx/>
                <a:latin typeface="Open Sans"/>
              </a:rPr>
              <a:t>new college grads </a:t>
            </a:r>
            <a:r>
              <a:rPr kumimoji="0" lang="en-US" sz="1400" b="0" i="0" u="none" strike="noStrike" kern="0" cap="none" spc="0" normalizeH="0" baseline="0" noProof="0" dirty="0">
                <a:ln>
                  <a:noFill/>
                </a:ln>
                <a:solidFill>
                  <a:srgbClr val="000000"/>
                </a:solidFill>
                <a:effectLst/>
                <a:uLnTx/>
                <a:uFillTx/>
                <a:latin typeface="Open Sans"/>
              </a:rPr>
              <a:t>to client </a:t>
            </a:r>
            <a:r>
              <a:rPr kumimoji="0" lang="en-US" sz="1400" b="1" i="0" u="none" strike="noStrike" kern="0" cap="none" spc="0" normalizeH="0" baseline="0" noProof="0" dirty="0" err="1">
                <a:ln>
                  <a:noFill/>
                </a:ln>
                <a:solidFill>
                  <a:srgbClr val="000000"/>
                </a:solidFill>
                <a:effectLst/>
                <a:uLnTx/>
                <a:uFillTx/>
                <a:latin typeface="Open Sans"/>
              </a:rPr>
              <a:t>staffable</a:t>
            </a:r>
            <a:endParaRPr kumimoji="0" lang="en-US" sz="1400" b="1" i="0" u="none" strike="noStrike" kern="0" cap="none" spc="0" normalizeH="0" baseline="0" noProof="0" dirty="0">
              <a:ln>
                <a:noFill/>
              </a:ln>
              <a:solidFill>
                <a:srgbClr val="000000"/>
              </a:solidFill>
              <a:effectLst/>
              <a:uLnTx/>
              <a:uFillTx/>
              <a:latin typeface="Open San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ligned to OP/FSS demand and recruit’s professional interests)</a:t>
            </a:r>
          </a:p>
        </p:txBody>
      </p:sp>
      <p:sp>
        <p:nvSpPr>
          <p:cNvPr id="292" name="Rectangle: Rounded Corners 291">
            <a:extLst>
              <a:ext uri="{FF2B5EF4-FFF2-40B4-BE49-F238E27FC236}">
                <a16:creationId xmlns:a16="http://schemas.microsoft.com/office/drawing/2014/main" id="{1B198B95-DEDA-47F3-B712-6A83CA624471}"/>
              </a:ext>
            </a:extLst>
          </p:cNvPr>
          <p:cNvSpPr/>
          <p:nvPr/>
        </p:nvSpPr>
        <p:spPr>
          <a:xfrm>
            <a:off x="1139456" y="2852971"/>
            <a:ext cx="2212900" cy="275183"/>
          </a:xfrm>
          <a:prstGeom prst="roundRect">
            <a:avLst/>
          </a:prstGeom>
          <a:solidFill>
            <a:srgbClr val="0070C0"/>
          </a:solidFill>
          <a:ln w="12700" cap="flat" cmpd="sng" algn="ctr">
            <a:solidFill>
              <a:srgbClr val="FFFFFF">
                <a:lumMod val="50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Open Sans"/>
                <a:ea typeface="+mn-ea"/>
                <a:cs typeface="+mn-cs"/>
              </a:rPr>
              <a:t>Accounting + Tech Minors</a:t>
            </a:r>
          </a:p>
        </p:txBody>
      </p:sp>
      <p:sp>
        <p:nvSpPr>
          <p:cNvPr id="293" name="Rectangle: Rounded Corners 292">
            <a:extLst>
              <a:ext uri="{FF2B5EF4-FFF2-40B4-BE49-F238E27FC236}">
                <a16:creationId xmlns:a16="http://schemas.microsoft.com/office/drawing/2014/main" id="{1500AD6F-C476-4881-8BBA-F4BE654E5828}"/>
              </a:ext>
            </a:extLst>
          </p:cNvPr>
          <p:cNvSpPr/>
          <p:nvPr/>
        </p:nvSpPr>
        <p:spPr>
          <a:xfrm>
            <a:off x="3428207" y="2851948"/>
            <a:ext cx="2212900" cy="275183"/>
          </a:xfrm>
          <a:prstGeom prst="roundRect">
            <a:avLst/>
          </a:prstGeom>
          <a:solidFill>
            <a:srgbClr val="0070C0"/>
          </a:solidFill>
          <a:ln w="12700" cap="flat" cmpd="sng" algn="ctr">
            <a:solidFill>
              <a:srgbClr val="FFFFFF">
                <a:lumMod val="50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Open Sans"/>
                <a:ea typeface="+mn-ea"/>
                <a:cs typeface="+mn-cs"/>
              </a:rPr>
              <a:t>Finance + Tech Minors</a:t>
            </a:r>
          </a:p>
        </p:txBody>
      </p:sp>
      <p:sp>
        <p:nvSpPr>
          <p:cNvPr id="294" name="TextBox 293">
            <a:extLst>
              <a:ext uri="{FF2B5EF4-FFF2-40B4-BE49-F238E27FC236}">
                <a16:creationId xmlns:a16="http://schemas.microsoft.com/office/drawing/2014/main" id="{04C43483-5E55-44FF-89EF-73789EECDBF1}"/>
              </a:ext>
            </a:extLst>
          </p:cNvPr>
          <p:cNvSpPr txBox="1"/>
          <p:nvPr/>
        </p:nvSpPr>
        <p:spPr>
          <a:xfrm>
            <a:off x="806109" y="6249286"/>
            <a:ext cx="5649735" cy="215444"/>
          </a:xfrm>
          <a:prstGeom prst="rect">
            <a:avLst/>
          </a:prstGeom>
          <a:noFill/>
        </p:spPr>
        <p:txBody>
          <a:bodyPr wrap="square" rtlCol="0">
            <a:spAutoFit/>
          </a:bodyPr>
          <a:lstStyle/>
          <a:p>
            <a:r>
              <a:rPr lang="en-US" sz="800" dirty="0">
                <a:solidFill>
                  <a:srgbClr val="000000"/>
                </a:solidFill>
                <a:latin typeface="Open Sans"/>
              </a:rPr>
              <a:t>*Total 8-week period also includes standard Deloitte onboarding processes for US and USI recruits</a:t>
            </a:r>
          </a:p>
        </p:txBody>
      </p:sp>
      <p:sp>
        <p:nvSpPr>
          <p:cNvPr id="295" name="Rectangle 294">
            <a:extLst>
              <a:ext uri="{FF2B5EF4-FFF2-40B4-BE49-F238E27FC236}">
                <a16:creationId xmlns:a16="http://schemas.microsoft.com/office/drawing/2014/main" id="{3E6C8C2C-7597-44AD-BF59-895798367011}"/>
              </a:ext>
            </a:extLst>
          </p:cNvPr>
          <p:cNvSpPr/>
          <p:nvPr/>
        </p:nvSpPr>
        <p:spPr>
          <a:xfrm>
            <a:off x="6162288" y="5755993"/>
            <a:ext cx="269626" cy="276999"/>
          </a:xfrm>
          <a:prstGeom prst="rect">
            <a:avLst/>
          </a:prstGeom>
        </p:spPr>
        <p:txBody>
          <a:bodyPr wrap="none">
            <a:spAutoFit/>
          </a:bodyPr>
          <a:lstStyle/>
          <a:p>
            <a:r>
              <a:rPr lang="en-US" sz="1200"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rPr>
              <a:t>*</a:t>
            </a:r>
            <a:endParaRPr lang="en-US" sz="1200" dirty="0">
              <a:solidFill>
                <a:srgbClr val="FFFFFF"/>
              </a:solidFill>
              <a:latin typeface="Open Sans"/>
            </a:endParaRPr>
          </a:p>
        </p:txBody>
      </p:sp>
    </p:spTree>
    <p:extLst>
      <p:ext uri="{BB962C8B-B14F-4D97-AF65-F5344CB8AC3E}">
        <p14:creationId xmlns:p14="http://schemas.microsoft.com/office/powerpoint/2010/main" val="6911942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543949B-4804-4963-A641-040FEC1A2496}"/>
              </a:ext>
            </a:extLst>
          </p:cNvPr>
          <p:cNvSpPr>
            <a:spLocks noGrp="1"/>
          </p:cNvSpPr>
          <p:nvPr>
            <p:ph type="body" sz="quarter" idx="22"/>
          </p:nvPr>
        </p:nvSpPr>
        <p:spPr>
          <a:xfrm>
            <a:off x="463295" y="682940"/>
            <a:ext cx="11378638" cy="529833"/>
          </a:xfrm>
        </p:spPr>
        <p:txBody>
          <a:bodyPr/>
          <a:lstStyle/>
          <a:p>
            <a:r>
              <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Learners are trained on key technical skills through hands-on experience over hundreds of hours</a:t>
            </a:r>
          </a:p>
        </p:txBody>
      </p:sp>
      <p:sp>
        <p:nvSpPr>
          <p:cNvPr id="4" name="Title 3">
            <a:extLst>
              <a:ext uri="{FF2B5EF4-FFF2-40B4-BE49-F238E27FC236}">
                <a16:creationId xmlns:a16="http://schemas.microsoft.com/office/drawing/2014/main" id="{DAEE1803-6C46-402C-AB88-B2E0DEFA8E5C}"/>
              </a:ext>
            </a:extLst>
          </p:cNvPr>
          <p:cNvSpPr>
            <a:spLocks noGrp="1"/>
          </p:cNvSpPr>
          <p:nvPr>
            <p:ph type="title"/>
          </p:nvPr>
        </p:nvSpPr>
        <p:spPr/>
        <p:txBody>
          <a:bodyPr/>
          <a:lstStyle/>
          <a:p>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An Intensive Curriculum</a:t>
            </a:r>
          </a:p>
        </p:txBody>
      </p:sp>
      <p:graphicFrame>
        <p:nvGraphicFramePr>
          <p:cNvPr id="125" name="Table 2">
            <a:extLst>
              <a:ext uri="{FF2B5EF4-FFF2-40B4-BE49-F238E27FC236}">
                <a16:creationId xmlns:a16="http://schemas.microsoft.com/office/drawing/2014/main" id="{45F8C13F-D80D-4758-927C-C35D70936702}"/>
              </a:ext>
            </a:extLst>
          </p:cNvPr>
          <p:cNvGraphicFramePr>
            <a:graphicFrameLocks noGrp="1"/>
          </p:cNvGraphicFramePr>
          <p:nvPr>
            <p:extLst>
              <p:ext uri="{D42A27DB-BD31-4B8C-83A1-F6EECF244321}">
                <p14:modId xmlns:p14="http://schemas.microsoft.com/office/powerpoint/2010/main" val="85147714"/>
              </p:ext>
            </p:extLst>
          </p:nvPr>
        </p:nvGraphicFramePr>
        <p:xfrm>
          <a:off x="402879" y="992366"/>
          <a:ext cx="11734278" cy="5490174"/>
        </p:xfrm>
        <a:graphic>
          <a:graphicData uri="http://schemas.openxmlformats.org/drawingml/2006/table">
            <a:tbl>
              <a:tblPr firstRow="1" bandRow="1">
                <a:tableStyleId>{5C22544A-7EE6-4342-B048-85BDC9FD1C3A}</a:tableStyleId>
              </a:tblPr>
              <a:tblGrid>
                <a:gridCol w="1035798">
                  <a:extLst>
                    <a:ext uri="{9D8B030D-6E8A-4147-A177-3AD203B41FA5}">
                      <a16:colId xmlns:a16="http://schemas.microsoft.com/office/drawing/2014/main" val="2242648702"/>
                    </a:ext>
                  </a:extLst>
                </a:gridCol>
                <a:gridCol w="1188720">
                  <a:extLst>
                    <a:ext uri="{9D8B030D-6E8A-4147-A177-3AD203B41FA5}">
                      <a16:colId xmlns:a16="http://schemas.microsoft.com/office/drawing/2014/main" val="399129905"/>
                    </a:ext>
                  </a:extLst>
                </a:gridCol>
                <a:gridCol w="1188720">
                  <a:extLst>
                    <a:ext uri="{9D8B030D-6E8A-4147-A177-3AD203B41FA5}">
                      <a16:colId xmlns:a16="http://schemas.microsoft.com/office/drawing/2014/main" val="978549526"/>
                    </a:ext>
                  </a:extLst>
                </a:gridCol>
                <a:gridCol w="1188720">
                  <a:extLst>
                    <a:ext uri="{9D8B030D-6E8A-4147-A177-3AD203B41FA5}">
                      <a16:colId xmlns:a16="http://schemas.microsoft.com/office/drawing/2014/main" val="2048994000"/>
                    </a:ext>
                  </a:extLst>
                </a:gridCol>
                <a:gridCol w="1188720">
                  <a:extLst>
                    <a:ext uri="{9D8B030D-6E8A-4147-A177-3AD203B41FA5}">
                      <a16:colId xmlns:a16="http://schemas.microsoft.com/office/drawing/2014/main" val="1176374272"/>
                    </a:ext>
                  </a:extLst>
                </a:gridCol>
                <a:gridCol w="1188720">
                  <a:extLst>
                    <a:ext uri="{9D8B030D-6E8A-4147-A177-3AD203B41FA5}">
                      <a16:colId xmlns:a16="http://schemas.microsoft.com/office/drawing/2014/main" val="1946257764"/>
                    </a:ext>
                  </a:extLst>
                </a:gridCol>
                <a:gridCol w="1188720">
                  <a:extLst>
                    <a:ext uri="{9D8B030D-6E8A-4147-A177-3AD203B41FA5}">
                      <a16:colId xmlns:a16="http://schemas.microsoft.com/office/drawing/2014/main" val="3302976637"/>
                    </a:ext>
                  </a:extLst>
                </a:gridCol>
                <a:gridCol w="1188720">
                  <a:extLst>
                    <a:ext uri="{9D8B030D-6E8A-4147-A177-3AD203B41FA5}">
                      <a16:colId xmlns:a16="http://schemas.microsoft.com/office/drawing/2014/main" val="279243668"/>
                    </a:ext>
                  </a:extLst>
                </a:gridCol>
                <a:gridCol w="1188720">
                  <a:extLst>
                    <a:ext uri="{9D8B030D-6E8A-4147-A177-3AD203B41FA5}">
                      <a16:colId xmlns:a16="http://schemas.microsoft.com/office/drawing/2014/main" val="1576411969"/>
                    </a:ext>
                  </a:extLst>
                </a:gridCol>
                <a:gridCol w="1188720">
                  <a:extLst>
                    <a:ext uri="{9D8B030D-6E8A-4147-A177-3AD203B41FA5}">
                      <a16:colId xmlns:a16="http://schemas.microsoft.com/office/drawing/2014/main" val="1649363139"/>
                    </a:ext>
                  </a:extLst>
                </a:gridCol>
              </a:tblGrid>
              <a:tr h="344787">
                <a:tc>
                  <a:txBody>
                    <a:bodyPr/>
                    <a:lstStyle/>
                    <a:p>
                      <a:endParaRPr lang="en-US" sz="1100">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100" dirty="0">
                          <a:latin typeface="Open Sans" panose="020B0606030504020204" pitchFamily="34" charset="0"/>
                          <a:ea typeface="Open Sans" panose="020B0606030504020204" pitchFamily="34" charset="0"/>
                          <a:cs typeface="Open Sans" panose="020B0606030504020204" pitchFamily="34" charset="0"/>
                        </a:rPr>
                        <a:t>PRE-START</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100" dirty="0">
                          <a:latin typeface="Open Sans" panose="020B0606030504020204" pitchFamily="34" charset="0"/>
                          <a:ea typeface="Open Sans" panose="020B0606030504020204" pitchFamily="34" charset="0"/>
                          <a:cs typeface="Open Sans" panose="020B0606030504020204" pitchFamily="34" charset="0"/>
                        </a:rPr>
                        <a:t>WK 1</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100" dirty="0">
                          <a:latin typeface="Open Sans" panose="020B0606030504020204" pitchFamily="34" charset="0"/>
                          <a:ea typeface="Open Sans" panose="020B0606030504020204" pitchFamily="34" charset="0"/>
                          <a:cs typeface="Open Sans" panose="020B0606030504020204" pitchFamily="34" charset="0"/>
                        </a:rPr>
                        <a:t>WK 2</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100">
                          <a:latin typeface="Open Sans" panose="020B0606030504020204" pitchFamily="34" charset="0"/>
                          <a:ea typeface="Open Sans" panose="020B0606030504020204" pitchFamily="34" charset="0"/>
                          <a:cs typeface="Open Sans" panose="020B0606030504020204" pitchFamily="34" charset="0"/>
                        </a:rPr>
                        <a:t>WK 3</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100">
                          <a:latin typeface="Open Sans" panose="020B0606030504020204" pitchFamily="34" charset="0"/>
                          <a:ea typeface="Open Sans" panose="020B0606030504020204" pitchFamily="34" charset="0"/>
                          <a:cs typeface="Open Sans" panose="020B0606030504020204" pitchFamily="34" charset="0"/>
                        </a:rPr>
                        <a:t>WK 4</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100">
                          <a:latin typeface="Open Sans" panose="020B0606030504020204" pitchFamily="34" charset="0"/>
                          <a:ea typeface="Open Sans" panose="020B0606030504020204" pitchFamily="34" charset="0"/>
                          <a:cs typeface="Open Sans" panose="020B0606030504020204" pitchFamily="34" charset="0"/>
                        </a:rPr>
                        <a:t>WK 5</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100">
                          <a:latin typeface="Open Sans" panose="020B0606030504020204" pitchFamily="34" charset="0"/>
                          <a:ea typeface="Open Sans" panose="020B0606030504020204" pitchFamily="34" charset="0"/>
                          <a:cs typeface="Open Sans" panose="020B0606030504020204" pitchFamily="34" charset="0"/>
                        </a:rPr>
                        <a:t>WK 6</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100">
                          <a:latin typeface="Open Sans" panose="020B0606030504020204" pitchFamily="34" charset="0"/>
                          <a:ea typeface="Open Sans" panose="020B0606030504020204" pitchFamily="34" charset="0"/>
                          <a:cs typeface="Open Sans" panose="020B0606030504020204" pitchFamily="34" charset="0"/>
                        </a:rPr>
                        <a:t>WK 7</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100" dirty="0">
                          <a:latin typeface="Open Sans" panose="020B0606030504020204" pitchFamily="34" charset="0"/>
                          <a:ea typeface="Open Sans" panose="020B0606030504020204" pitchFamily="34" charset="0"/>
                          <a:cs typeface="Open Sans" panose="020B0606030504020204" pitchFamily="34" charset="0"/>
                        </a:rPr>
                        <a:t>WK 8</a:t>
                      </a: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762665350"/>
                  </a:ext>
                </a:extLst>
              </a:tr>
              <a:tr h="344787">
                <a:tc>
                  <a:txBody>
                    <a:bodyPr/>
                    <a:lstStyle/>
                    <a:p>
                      <a:endParaRPr lang="en-US" sz="80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800">
                          <a:solidFill>
                            <a:schemeClr val="bg1"/>
                          </a:solidFill>
                          <a:latin typeface="Open Sans" panose="020B0606030504020204" pitchFamily="34" charset="0"/>
                          <a:ea typeface="Open Sans" panose="020B0606030504020204" pitchFamily="34" charset="0"/>
                          <a:cs typeface="Open Sans" panose="020B0606030504020204" pitchFamily="34" charset="0"/>
                        </a:rPr>
                        <a:t>Online Foundational Courses</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800" b="0" i="0">
                          <a:solidFill>
                            <a:schemeClr val="bg1"/>
                          </a:solidFill>
                          <a:latin typeface="Open Sans" panose="020B0606030504020204" pitchFamily="34" charset="0"/>
                          <a:ea typeface="Open Sans" panose="020B0606030504020204" pitchFamily="34" charset="0"/>
                          <a:cs typeface="Open Sans" panose="020B0606030504020204" pitchFamily="34" charset="0"/>
                        </a:rPr>
                        <a:t>Databases &amp; Python</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Data Analysis</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ML Algorithms</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Deep Learning</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Computer Vision and Conversational AI</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Big Data</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Big Data in</a:t>
                      </a:r>
                    </a:p>
                    <a:p>
                      <a:pPr algn="ct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the Cloud</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Model Deployment</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833005211"/>
                  </a:ext>
                </a:extLst>
              </a:tr>
              <a:tr h="1828800">
                <a:tc>
                  <a:txBody>
                    <a:bodyPr/>
                    <a:lstStyle/>
                    <a:p>
                      <a:r>
                        <a:rPr lang="en-US" sz="900" b="1" cap="all" baseline="0">
                          <a:solidFill>
                            <a:schemeClr val="bg1"/>
                          </a:solidFill>
                          <a:latin typeface="Open Sans" panose="020B0606030504020204" pitchFamily="34" charset="0"/>
                          <a:ea typeface="Open Sans" panose="020B0606030504020204" pitchFamily="34" charset="0"/>
                          <a:cs typeface="Open Sans" panose="020B0606030504020204" pitchFamily="34" charset="0"/>
                        </a:rPr>
                        <a:t>Core Data Foundations</a:t>
                      </a: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rowSpan="2">
                  <a:txBody>
                    <a:bodyPr/>
                    <a:lstStyle/>
                    <a:p>
                      <a:pPr marL="0" indent="0">
                        <a:buFont typeface="Wingdings" panose="05000000000000000000" pitchFamily="2" charset="2"/>
                        <a:buNone/>
                      </a:pPr>
                      <a:r>
                        <a:rPr lang="en-US" sz="800" b="1">
                          <a:latin typeface="Open Sans" panose="020B0606030504020204" pitchFamily="34" charset="0"/>
                          <a:ea typeface="Open Sans" panose="020B0606030504020204" pitchFamily="34" charset="0"/>
                          <a:cs typeface="Open Sans" panose="020B0606030504020204" pitchFamily="34" charset="0"/>
                        </a:rPr>
                        <a:t>ONLINE COURSES:</a:t>
                      </a:r>
                    </a:p>
                    <a:p>
                      <a:pPr marL="171450" indent="-171450">
                        <a:buFont typeface="Wingdings" panose="05000000000000000000" pitchFamily="2" charset="2"/>
                        <a:buChar char="§"/>
                      </a:pPr>
                      <a:r>
                        <a:rPr lang="en-US" sz="800">
                          <a:latin typeface="Open Sans" panose="020B0606030504020204" pitchFamily="34" charset="0"/>
                          <a:ea typeface="Open Sans" panose="020B0606030504020204" pitchFamily="34" charset="0"/>
                          <a:cs typeface="Open Sans" panose="020B0606030504020204" pitchFamily="34" charset="0"/>
                        </a:rPr>
                        <a:t>Excel &amp; Statistic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rPr>
                        <a:t>Databases &amp; Visualization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800">
                          <a:latin typeface="Open Sans" panose="020B0606030504020204" pitchFamily="34" charset="0"/>
                          <a:ea typeface="Open Sans" panose="020B0606030504020204" pitchFamily="34" charset="0"/>
                          <a:cs typeface="Open Sans" panose="020B0606030504020204" pitchFamily="34" charset="0"/>
                        </a:rPr>
                        <a:t>Python</a:t>
                      </a:r>
                      <a:endPar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800" kern="1200">
                          <a:solidFill>
                            <a:schemeClr val="dk1"/>
                          </a:solidFill>
                          <a:latin typeface="Open Sans" panose="020B0606030504020204" pitchFamily="34" charset="0"/>
                          <a:ea typeface="Open Sans" panose="020B0606030504020204" pitchFamily="34" charset="0"/>
                          <a:cs typeface="Open Sans" panose="020B0606030504020204" pitchFamily="34" charset="0"/>
                        </a:rPr>
                        <a:t>Intro to Cloud</a:t>
                      </a:r>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00" b="1">
                          <a:latin typeface="Open Sans" panose="020B0606030504020204" pitchFamily="34" charset="0"/>
                          <a:ea typeface="Open Sans" panose="020B0606030504020204" pitchFamily="34" charset="0"/>
                          <a:cs typeface="Open Sans" panose="020B0606030504020204" pitchFamily="34" charset="0"/>
                        </a:rPr>
                        <a:t>Coding Hygiene</a:t>
                      </a:r>
                    </a:p>
                    <a:p>
                      <a:r>
                        <a:rPr lang="en-US" sz="800">
                          <a:latin typeface="Open Sans" panose="020B0606030504020204" pitchFamily="34" charset="0"/>
                          <a:ea typeface="Open Sans" panose="020B0606030504020204" pitchFamily="34" charset="0"/>
                          <a:cs typeface="Open Sans" panose="020B0606030504020204" pitchFamily="34" charset="0"/>
                        </a:rPr>
                        <a:t>(6 hours) &amp; </a:t>
                      </a:r>
                      <a:r>
                        <a:rPr lang="en-US" sz="800" b="1">
                          <a:latin typeface="Open Sans" panose="020B0606030504020204" pitchFamily="34" charset="0"/>
                          <a:ea typeface="Open Sans" panose="020B0606030504020204" pitchFamily="34" charset="0"/>
                          <a:cs typeface="Open Sans" panose="020B0606030504020204" pitchFamily="34" charset="0"/>
                        </a:rPr>
                        <a:t>Databases</a:t>
                      </a:r>
                      <a:r>
                        <a:rPr lang="en-US" sz="800">
                          <a:latin typeface="Open Sans" panose="020B0606030504020204" pitchFamily="34" charset="0"/>
                          <a:ea typeface="Open Sans" panose="020B0606030504020204" pitchFamily="34" charset="0"/>
                          <a:cs typeface="Open Sans" panose="020B0606030504020204" pitchFamily="34" charset="0"/>
                        </a:rPr>
                        <a:t> (16 hours)</a:t>
                      </a: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latin typeface="Open Sans" panose="020B0606030504020204" pitchFamily="34" charset="0"/>
                          <a:ea typeface="Open Sans" panose="020B0606030504020204" pitchFamily="34" charset="0"/>
                          <a:cs typeface="Open Sans" panose="020B0606030504020204" pitchFamily="34" charset="0"/>
                        </a:rPr>
                        <a:t>Statistics and Math for ML </a:t>
                      </a:r>
                      <a:r>
                        <a:rPr lang="en-US" sz="800">
                          <a:latin typeface="Open Sans" panose="020B0606030504020204" pitchFamily="34" charset="0"/>
                          <a:ea typeface="Open Sans" panose="020B0606030504020204" pitchFamily="34" charset="0"/>
                          <a:cs typeface="Open Sans" panose="020B0606030504020204" pitchFamily="34" charset="0"/>
                        </a:rPr>
                        <a:t>(12 hours) and </a:t>
                      </a:r>
                      <a:r>
                        <a:rPr lang="en-US" sz="800" b="1">
                          <a:latin typeface="Open Sans" panose="020B0606030504020204" pitchFamily="34" charset="0"/>
                          <a:ea typeface="Open Sans" panose="020B0606030504020204" pitchFamily="34" charset="0"/>
                          <a:cs typeface="Open Sans" panose="020B0606030504020204" pitchFamily="34" charset="0"/>
                        </a:rPr>
                        <a:t>Visualization &amp; Insights </a:t>
                      </a:r>
                      <a:r>
                        <a:rPr lang="en-US" sz="800">
                          <a:latin typeface="Open Sans" panose="020B0606030504020204" pitchFamily="34" charset="0"/>
                          <a:ea typeface="Open Sans" panose="020B0606030504020204" pitchFamily="34" charset="0"/>
                          <a:cs typeface="Open Sans" panose="020B0606030504020204" pitchFamily="34" charset="0"/>
                        </a:rPr>
                        <a:t>(6 hours)</a:t>
                      </a:r>
                    </a:p>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latin typeface="Open Sans" panose="020B0606030504020204" pitchFamily="34" charset="0"/>
                          <a:ea typeface="Open Sans" panose="020B0606030504020204" pitchFamily="34" charset="0"/>
                          <a:cs typeface="Open Sans" panose="020B0606030504020204" pitchFamily="34" charset="0"/>
                        </a:rPr>
                        <a:t>Visualization &amp; Insights Continued </a:t>
                      </a:r>
                      <a:r>
                        <a:rPr lang="en-US" sz="800">
                          <a:latin typeface="Open Sans" panose="020B0606030504020204" pitchFamily="34" charset="0"/>
                          <a:ea typeface="Open Sans" panose="020B0606030504020204" pitchFamily="34" charset="0"/>
                          <a:cs typeface="Open Sans" panose="020B0606030504020204" pitchFamily="34" charset="0"/>
                        </a:rPr>
                        <a:t>(10 hours)</a:t>
                      </a: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00" b="1">
                          <a:latin typeface="Open Sans" panose="020B0606030504020204" pitchFamily="34" charset="0"/>
                          <a:ea typeface="Open Sans" panose="020B0606030504020204" pitchFamily="34" charset="0"/>
                          <a:cs typeface="Open Sans" panose="020B0606030504020204" pitchFamily="34" charset="0"/>
                        </a:rPr>
                        <a:t>Data Engineering &amp; ETL </a:t>
                      </a:r>
                      <a:r>
                        <a:rPr lang="en-US" sz="800">
                          <a:latin typeface="Open Sans" panose="020B0606030504020204" pitchFamily="34" charset="0"/>
                          <a:ea typeface="Open Sans" panose="020B0606030504020204" pitchFamily="34" charset="0"/>
                          <a:cs typeface="Open Sans" panose="020B0606030504020204" pitchFamily="34" charset="0"/>
                        </a:rPr>
                        <a:t>(8 hours)</a:t>
                      </a: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latin typeface="Open Sans" panose="020B0606030504020204" pitchFamily="34" charset="0"/>
                          <a:ea typeface="Open Sans" panose="020B0606030504020204" pitchFamily="34" charset="0"/>
                          <a:cs typeface="Open Sans" panose="020B0606030504020204" pitchFamily="34" charset="0"/>
                        </a:rPr>
                        <a:t>Data Engineering &amp; ETL Continued </a:t>
                      </a:r>
                      <a:r>
                        <a:rPr lang="en-US" sz="800">
                          <a:latin typeface="Open Sans" panose="020B0606030504020204" pitchFamily="34" charset="0"/>
                          <a:ea typeface="Open Sans" panose="020B0606030504020204" pitchFamily="34" charset="0"/>
                          <a:cs typeface="Open Sans" panose="020B0606030504020204" pitchFamily="34" charset="0"/>
                        </a:rPr>
                        <a:t>(32 hours)</a:t>
                      </a: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00" b="1" dirty="0">
                          <a:latin typeface="Open Sans" panose="020B0606030504020204" pitchFamily="34" charset="0"/>
                          <a:ea typeface="Open Sans" panose="020B0606030504020204" pitchFamily="34" charset="0"/>
                          <a:cs typeface="Open Sans" panose="020B0606030504020204" pitchFamily="34" charset="0"/>
                        </a:rPr>
                        <a:t>AWS </a:t>
                      </a:r>
                      <a:r>
                        <a:rPr lang="en-US" sz="800" dirty="0">
                          <a:latin typeface="Open Sans" panose="020B0606030504020204" pitchFamily="34" charset="0"/>
                          <a:ea typeface="Open Sans" panose="020B0606030504020204" pitchFamily="34" charset="0"/>
                          <a:cs typeface="Open Sans" panose="020B0606030504020204" pitchFamily="34" charset="0"/>
                        </a:rPr>
                        <a:t>(32 hours) or </a:t>
                      </a:r>
                      <a:r>
                        <a:rPr lang="en-US" sz="800" b="1" dirty="0">
                          <a:latin typeface="Open Sans" panose="020B0606030504020204" pitchFamily="34" charset="0"/>
                          <a:ea typeface="Open Sans" panose="020B0606030504020204" pitchFamily="34" charset="0"/>
                          <a:cs typeface="Open Sans" panose="020B0606030504020204" pitchFamily="34" charset="0"/>
                        </a:rPr>
                        <a:t>Azure </a:t>
                      </a:r>
                      <a:r>
                        <a:rPr lang="en-US" sz="800" dirty="0">
                          <a:latin typeface="Open Sans" panose="020B0606030504020204" pitchFamily="34" charset="0"/>
                          <a:ea typeface="Open Sans" panose="020B0606030504020204" pitchFamily="34" charset="0"/>
                          <a:cs typeface="Open Sans" panose="020B0606030504020204" pitchFamily="34" charset="0"/>
                        </a:rPr>
                        <a:t>(32 hours)</a:t>
                      </a:r>
                    </a:p>
                    <a:p>
                      <a:endParaRPr lang="en-US" sz="800" dirty="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latin typeface="Open Sans" panose="020B0606030504020204" pitchFamily="34" charset="0"/>
                          <a:ea typeface="Open Sans" panose="020B0606030504020204" pitchFamily="34" charset="0"/>
                          <a:cs typeface="Open Sans" panose="020B0606030504020204" pitchFamily="34" charset="0"/>
                        </a:rPr>
                        <a:t>AWS </a:t>
                      </a:r>
                      <a:r>
                        <a:rPr lang="en-US" sz="800">
                          <a:latin typeface="Open Sans" panose="020B0606030504020204" pitchFamily="34" charset="0"/>
                          <a:ea typeface="Open Sans" panose="020B0606030504020204" pitchFamily="34" charset="0"/>
                          <a:cs typeface="Open Sans" panose="020B0606030504020204" pitchFamily="34" charset="0"/>
                        </a:rPr>
                        <a:t>(24 hours) or </a:t>
                      </a:r>
                      <a:r>
                        <a:rPr lang="en-US" sz="800" b="1">
                          <a:latin typeface="Open Sans" panose="020B0606030504020204" pitchFamily="34" charset="0"/>
                          <a:ea typeface="Open Sans" panose="020B0606030504020204" pitchFamily="34" charset="0"/>
                          <a:cs typeface="Open Sans" panose="020B0606030504020204" pitchFamily="34" charset="0"/>
                        </a:rPr>
                        <a:t>Azure </a:t>
                      </a:r>
                      <a:r>
                        <a:rPr lang="en-US" sz="800">
                          <a:latin typeface="Open Sans" panose="020B0606030504020204" pitchFamily="34" charset="0"/>
                          <a:ea typeface="Open Sans" panose="020B0606030504020204" pitchFamily="34" charset="0"/>
                          <a:cs typeface="Open Sans" panose="020B0606030504020204" pitchFamily="34" charset="0"/>
                        </a:rPr>
                        <a:t>(24 hours)</a:t>
                      </a:r>
                    </a:p>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25324002"/>
                  </a:ext>
                </a:extLst>
              </a:tr>
              <a:tr h="1828800">
                <a:tc>
                  <a:txBody>
                    <a:bodyPr/>
                    <a:lstStyle/>
                    <a:p>
                      <a:r>
                        <a:rPr lang="en-US" sz="900" b="1" cap="all" baseline="0">
                          <a:solidFill>
                            <a:schemeClr val="bg1"/>
                          </a:solidFill>
                          <a:latin typeface="Open Sans" panose="020B0606030504020204" pitchFamily="34" charset="0"/>
                          <a:ea typeface="Open Sans" panose="020B0606030504020204" pitchFamily="34" charset="0"/>
                          <a:cs typeface="Open Sans" panose="020B0606030504020204" pitchFamily="34" charset="0"/>
                        </a:rPr>
                        <a:t>AI &amp; ML</a:t>
                      </a: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vMerge="1">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r>
                        <a:rPr lang="en-US" sz="800" b="1">
                          <a:latin typeface="Open Sans" panose="020B0606030504020204" pitchFamily="34" charset="0"/>
                          <a:ea typeface="Open Sans" panose="020B0606030504020204" pitchFamily="34" charset="0"/>
                          <a:cs typeface="Open Sans" panose="020B0606030504020204" pitchFamily="34" charset="0"/>
                        </a:rPr>
                        <a:t>Programming in Python</a:t>
                      </a:r>
                    </a:p>
                    <a:p>
                      <a:r>
                        <a:rPr lang="en-US" sz="800">
                          <a:latin typeface="Open Sans" panose="020B0606030504020204" pitchFamily="34" charset="0"/>
                          <a:ea typeface="Open Sans" panose="020B0606030504020204" pitchFamily="34" charset="0"/>
                          <a:cs typeface="Open Sans" panose="020B0606030504020204" pitchFamily="34" charset="0"/>
                        </a:rPr>
                        <a:t>(12 hours)</a:t>
                      </a: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latin typeface="Open Sans" panose="020B0606030504020204" pitchFamily="34" charset="0"/>
                          <a:ea typeface="Open Sans" panose="020B0606030504020204" pitchFamily="34" charset="0"/>
                          <a:cs typeface="Open Sans" panose="020B0606030504020204" pitchFamily="34" charset="0"/>
                        </a:rPr>
                        <a:t>Data Visualization &amp; Exploratory Data Analysis</a:t>
                      </a:r>
                      <a:r>
                        <a:rPr lang="en-US" sz="800">
                          <a:latin typeface="Open Sans" panose="020B0606030504020204" pitchFamily="34" charset="0"/>
                          <a:ea typeface="Open Sans" panose="020B0606030504020204" pitchFamily="34" charset="0"/>
                          <a:cs typeface="Open Sans" panose="020B0606030504020204" pitchFamily="34" charset="0"/>
                        </a:rPr>
                        <a:t> (16 hours)</a:t>
                      </a: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latin typeface="Open Sans" panose="020B0606030504020204" pitchFamily="34" charset="0"/>
                          <a:ea typeface="Open Sans" panose="020B0606030504020204" pitchFamily="34" charset="0"/>
                          <a:cs typeface="Open Sans" panose="020B0606030504020204" pitchFamily="34" charset="0"/>
                        </a:rPr>
                        <a:t>ML Algorithms and Applications </a:t>
                      </a:r>
                      <a:r>
                        <a:rPr lang="en-US" sz="800">
                          <a:latin typeface="Open Sans" panose="020B0606030504020204" pitchFamily="34" charset="0"/>
                          <a:ea typeface="Open Sans" panose="020B0606030504020204" pitchFamily="34" charset="0"/>
                          <a:cs typeface="Open Sans" panose="020B0606030504020204" pitchFamily="34" charset="0"/>
                        </a:rPr>
                        <a:t>(24 hours)</a:t>
                      </a: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latin typeface="Open Sans" panose="020B0606030504020204" pitchFamily="34" charset="0"/>
                          <a:ea typeface="Open Sans" panose="020B0606030504020204" pitchFamily="34" charset="0"/>
                          <a:cs typeface="Open Sans" panose="020B0606030504020204" pitchFamily="34" charset="0"/>
                        </a:rPr>
                        <a:t>ML Algorithms and Applications Continued </a:t>
                      </a:r>
                      <a:r>
                        <a:rPr lang="en-US" sz="800">
                          <a:latin typeface="Open Sans" panose="020B0606030504020204" pitchFamily="34" charset="0"/>
                          <a:ea typeface="Open Sans" panose="020B0606030504020204" pitchFamily="34" charset="0"/>
                          <a:cs typeface="Open Sans" panose="020B0606030504020204" pitchFamily="34" charset="0"/>
                        </a:rPr>
                        <a:t>(16 hours) and </a:t>
                      </a:r>
                      <a:r>
                        <a:rPr lang="en-US" sz="800" b="1">
                          <a:latin typeface="Open Sans" panose="020B0606030504020204" pitchFamily="34" charset="0"/>
                          <a:ea typeface="Open Sans" panose="020B0606030504020204" pitchFamily="34" charset="0"/>
                          <a:cs typeface="Open Sans" panose="020B0606030504020204" pitchFamily="34" charset="0"/>
                        </a:rPr>
                        <a:t>Introduction to TensorFlow and ANN</a:t>
                      </a:r>
                      <a:r>
                        <a:rPr lang="en-US" sz="800">
                          <a:latin typeface="Open Sans" panose="020B0606030504020204" pitchFamily="34" charset="0"/>
                          <a:ea typeface="Open Sans" panose="020B0606030504020204" pitchFamily="34" charset="0"/>
                          <a:cs typeface="Open Sans" panose="020B0606030504020204" pitchFamily="34" charset="0"/>
                        </a:rPr>
                        <a:t> (16 hours)</a:t>
                      </a: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00" b="1">
                          <a:latin typeface="Open Sans" panose="020B0606030504020204" pitchFamily="34" charset="0"/>
                          <a:ea typeface="Open Sans" panose="020B0606030504020204" pitchFamily="34" charset="0"/>
                          <a:cs typeface="Open Sans" panose="020B0606030504020204" pitchFamily="34" charset="0"/>
                        </a:rPr>
                        <a:t>Computer Vision</a:t>
                      </a:r>
                      <a:r>
                        <a:rPr lang="en-US" sz="800">
                          <a:latin typeface="Open Sans" panose="020B0606030504020204" pitchFamily="34" charset="0"/>
                          <a:ea typeface="Open Sans" panose="020B0606030504020204" pitchFamily="34" charset="0"/>
                          <a:cs typeface="Open Sans" panose="020B0606030504020204" pitchFamily="34" charset="0"/>
                        </a:rPr>
                        <a:t> (4 hours) and </a:t>
                      </a:r>
                      <a:r>
                        <a:rPr lang="en-US" sz="800" b="1">
                          <a:latin typeface="Open Sans" panose="020B0606030504020204" pitchFamily="34" charset="0"/>
                          <a:ea typeface="Open Sans" panose="020B0606030504020204" pitchFamily="34" charset="0"/>
                          <a:cs typeface="Open Sans" panose="020B0606030504020204" pitchFamily="34" charset="0"/>
                        </a:rPr>
                        <a:t>Deep Neural Networks</a:t>
                      </a:r>
                      <a:r>
                        <a:rPr lang="en-US" sz="800">
                          <a:latin typeface="Open Sans" panose="020B0606030504020204" pitchFamily="34" charset="0"/>
                          <a:ea typeface="Open Sans" panose="020B0606030504020204" pitchFamily="34" charset="0"/>
                          <a:cs typeface="Open Sans" panose="020B0606030504020204" pitchFamily="34" charset="0"/>
                        </a:rPr>
                        <a:t> (4 hours) and </a:t>
                      </a:r>
                      <a:r>
                        <a:rPr lang="en-US" sz="800" b="1">
                          <a:latin typeface="Open Sans" panose="020B0606030504020204" pitchFamily="34" charset="0"/>
                          <a:ea typeface="Open Sans" panose="020B0606030504020204" pitchFamily="34" charset="0"/>
                          <a:cs typeface="Open Sans" panose="020B0606030504020204" pitchFamily="34" charset="0"/>
                        </a:rPr>
                        <a:t>Conversational AI </a:t>
                      </a:r>
                      <a:r>
                        <a:rPr lang="en-US" sz="800">
                          <a:latin typeface="Open Sans" panose="020B0606030504020204" pitchFamily="34" charset="0"/>
                          <a:ea typeface="Open Sans" panose="020B0606030504020204" pitchFamily="34" charset="0"/>
                          <a:cs typeface="Open Sans" panose="020B0606030504020204" pitchFamily="34" charset="0"/>
                        </a:rPr>
                        <a:t>(16 hours)</a:t>
                      </a: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3271821"/>
                  </a:ext>
                </a:extLst>
              </a:tr>
              <a:tr h="365760">
                <a:tc>
                  <a:txBody>
                    <a:bodyPr/>
                    <a:lstStyle/>
                    <a:p>
                      <a:r>
                        <a:rPr lang="en-US" sz="900" b="1" cap="all" baseline="0">
                          <a:solidFill>
                            <a:schemeClr val="bg1"/>
                          </a:solidFill>
                          <a:latin typeface="Open Sans" panose="020B0606030504020204" pitchFamily="34" charset="0"/>
                          <a:ea typeface="Open Sans" panose="020B0606030504020204" pitchFamily="34" charset="0"/>
                          <a:cs typeface="Open Sans" panose="020B0606030504020204" pitchFamily="34" charset="0"/>
                        </a:rPr>
                        <a:t>Trustworthy AI</a:t>
                      </a:r>
                      <a:r>
                        <a:rPr lang="en-US" sz="900" b="1" cap="all" baseline="30000">
                          <a:solidFill>
                            <a:schemeClr val="bg1"/>
                          </a:solidFill>
                          <a:latin typeface="Open Sans" panose="020B0606030504020204" pitchFamily="34" charset="0"/>
                          <a:ea typeface="Open Sans" panose="020B0606030504020204" pitchFamily="34" charset="0"/>
                          <a:cs typeface="Open Sans" panose="020B0606030504020204" pitchFamily="34" charset="0"/>
                        </a:rPr>
                        <a:t>TM</a:t>
                      </a: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00" b="1">
                          <a:latin typeface="Open Sans" panose="020B0606030504020204" pitchFamily="34" charset="0"/>
                          <a:ea typeface="Open Sans" panose="020B0606030504020204" pitchFamily="34" charset="0"/>
                          <a:cs typeface="Open Sans" panose="020B0606030504020204" pitchFamily="34" charset="0"/>
                        </a:rPr>
                        <a:t>AI Ethics &amp; Business Context of TWAI </a:t>
                      </a:r>
                      <a:r>
                        <a:rPr lang="en-US" sz="800">
                          <a:latin typeface="Open Sans" panose="020B0606030504020204" pitchFamily="34" charset="0"/>
                          <a:ea typeface="Open Sans" panose="020B0606030504020204" pitchFamily="34" charset="0"/>
                          <a:cs typeface="Open Sans" panose="020B0606030504020204" pitchFamily="34" charset="0"/>
                        </a:rPr>
                        <a:t>(2.25 hours)</a:t>
                      </a: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00" b="1">
                          <a:latin typeface="Open Sans" panose="020B0606030504020204" pitchFamily="34" charset="0"/>
                          <a:ea typeface="Open Sans" panose="020B0606030504020204" pitchFamily="34" charset="0"/>
                          <a:cs typeface="Open Sans" panose="020B0606030504020204" pitchFamily="34" charset="0"/>
                        </a:rPr>
                        <a:t>Robust / Reliable </a:t>
                      </a:r>
                      <a:r>
                        <a:rPr lang="en-US" sz="800">
                          <a:latin typeface="Open Sans" panose="020B0606030504020204" pitchFamily="34" charset="0"/>
                          <a:ea typeface="Open Sans" panose="020B0606030504020204" pitchFamily="34" charset="0"/>
                          <a:cs typeface="Open Sans" panose="020B0606030504020204" pitchFamily="34" charset="0"/>
                        </a:rPr>
                        <a:t>(45 mins)</a:t>
                      </a: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00" b="1">
                          <a:latin typeface="Open Sans" panose="020B0606030504020204" pitchFamily="34" charset="0"/>
                          <a:ea typeface="Open Sans" panose="020B0606030504020204" pitchFamily="34" charset="0"/>
                          <a:cs typeface="Open Sans" panose="020B0606030504020204" pitchFamily="34" charset="0"/>
                        </a:rPr>
                        <a:t>Transparent / Explainable</a:t>
                      </a:r>
                    </a:p>
                    <a:p>
                      <a:r>
                        <a:rPr lang="en-US" sz="800">
                          <a:latin typeface="Open Sans" panose="020B0606030504020204" pitchFamily="34" charset="0"/>
                          <a:ea typeface="Open Sans" panose="020B0606030504020204" pitchFamily="34" charset="0"/>
                          <a:cs typeface="Open Sans" panose="020B0606030504020204" pitchFamily="34" charset="0"/>
                        </a:rPr>
                        <a:t>(45 mins)</a:t>
                      </a: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00" b="1">
                          <a:latin typeface="Open Sans" panose="020B0606030504020204" pitchFamily="34" charset="0"/>
                          <a:ea typeface="Open Sans" panose="020B0606030504020204" pitchFamily="34" charset="0"/>
                          <a:cs typeface="Open Sans" panose="020B0606030504020204" pitchFamily="34" charset="0"/>
                        </a:rPr>
                        <a:t>Fair / Impartial </a:t>
                      </a:r>
                    </a:p>
                    <a:p>
                      <a:r>
                        <a:rPr lang="en-US" sz="800">
                          <a:latin typeface="Open Sans" panose="020B0606030504020204" pitchFamily="34" charset="0"/>
                          <a:ea typeface="Open Sans" panose="020B0606030504020204" pitchFamily="34" charset="0"/>
                          <a:cs typeface="Open Sans" panose="020B0606030504020204" pitchFamily="34" charset="0"/>
                        </a:rPr>
                        <a:t>(45 mins)</a:t>
                      </a: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00" b="1">
                          <a:latin typeface="Open Sans" panose="020B0606030504020204" pitchFamily="34" charset="0"/>
                          <a:ea typeface="Open Sans" panose="020B0606030504020204" pitchFamily="34" charset="0"/>
                          <a:cs typeface="Open Sans" panose="020B0606030504020204" pitchFamily="34" charset="0"/>
                        </a:rPr>
                        <a:t>Safe / Secure &amp; Privacy </a:t>
                      </a:r>
                      <a:r>
                        <a:rPr lang="en-US" sz="800">
                          <a:latin typeface="Open Sans" panose="020B0606030504020204" pitchFamily="34" charset="0"/>
                          <a:ea typeface="Open Sans" panose="020B0606030504020204" pitchFamily="34" charset="0"/>
                          <a:cs typeface="Open Sans" panose="020B0606030504020204" pitchFamily="34" charset="0"/>
                        </a:rPr>
                        <a:t>(45 mins)</a:t>
                      </a: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00" b="1">
                          <a:latin typeface="Open Sans" panose="020B0606030504020204" pitchFamily="34" charset="0"/>
                          <a:ea typeface="Open Sans" panose="020B0606030504020204" pitchFamily="34" charset="0"/>
                          <a:cs typeface="Open Sans" panose="020B0606030504020204" pitchFamily="34" charset="0"/>
                        </a:rPr>
                        <a:t>Responsible / Accountable </a:t>
                      </a:r>
                      <a:r>
                        <a:rPr lang="en-US" sz="800">
                          <a:latin typeface="Open Sans" panose="020B0606030504020204" pitchFamily="34" charset="0"/>
                          <a:ea typeface="Open Sans" panose="020B0606030504020204" pitchFamily="34" charset="0"/>
                          <a:cs typeface="Open Sans" panose="020B0606030504020204" pitchFamily="34" charset="0"/>
                        </a:rPr>
                        <a:t>(45 mins)</a:t>
                      </a: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00" b="1">
                          <a:latin typeface="Open Sans" panose="020B0606030504020204" pitchFamily="34" charset="0"/>
                          <a:ea typeface="Open Sans" panose="020B0606030504020204" pitchFamily="34" charset="0"/>
                          <a:cs typeface="Open Sans" panose="020B0606030504020204" pitchFamily="34" charset="0"/>
                        </a:rPr>
                        <a:t>Technology Stack </a:t>
                      </a:r>
                      <a:r>
                        <a:rPr lang="en-US" sz="800">
                          <a:latin typeface="Open Sans" panose="020B0606030504020204" pitchFamily="34" charset="0"/>
                          <a:ea typeface="Open Sans" panose="020B0606030504020204" pitchFamily="34" charset="0"/>
                          <a:cs typeface="Open Sans" panose="020B0606030504020204" pitchFamily="34" charset="0"/>
                        </a:rPr>
                        <a:t>(45 mins)</a:t>
                      </a: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00" b="1">
                          <a:latin typeface="Open Sans" panose="020B0606030504020204" pitchFamily="34" charset="0"/>
                          <a:ea typeface="Open Sans" panose="020B0606030504020204" pitchFamily="34" charset="0"/>
                          <a:cs typeface="Open Sans" panose="020B0606030504020204" pitchFamily="34" charset="0"/>
                        </a:rPr>
                        <a:t>Chatterbox Deep Dive </a:t>
                      </a:r>
                      <a:r>
                        <a:rPr lang="en-US" sz="800">
                          <a:latin typeface="Open Sans" panose="020B0606030504020204" pitchFamily="34" charset="0"/>
                          <a:ea typeface="Open Sans" panose="020B0606030504020204" pitchFamily="34" charset="0"/>
                          <a:cs typeface="Open Sans" panose="020B0606030504020204" pitchFamily="34" charset="0"/>
                        </a:rPr>
                        <a:t>(45 mins)</a:t>
                      </a: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68586670"/>
                  </a:ext>
                </a:extLst>
              </a:tr>
              <a:tr h="0">
                <a:tc>
                  <a:txBody>
                    <a:bodyPr/>
                    <a:lstStyle/>
                    <a:p>
                      <a:r>
                        <a:rPr lang="en-US" sz="900" b="1" cap="all" baseline="0">
                          <a:solidFill>
                            <a:schemeClr val="bg1"/>
                          </a:solidFill>
                          <a:latin typeface="Open Sans" panose="020B0606030504020204" pitchFamily="34" charset="0"/>
                          <a:ea typeface="Open Sans" panose="020B0606030504020204" pitchFamily="34" charset="0"/>
                          <a:cs typeface="Open Sans" panose="020B0606030504020204" pitchFamily="34" charset="0"/>
                        </a:rPr>
                        <a:t>FSS/OP</a:t>
                      </a: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8">
                  <a:txBody>
                    <a:bodyPr/>
                    <a:lstStyle/>
                    <a:p>
                      <a:pPr algn="ctr"/>
                      <a:r>
                        <a:rPr lang="en-US" sz="800" b="1">
                          <a:latin typeface="Open Sans" panose="020B0606030504020204" pitchFamily="34" charset="0"/>
                          <a:ea typeface="Open Sans" panose="020B0606030504020204" pitchFamily="34" charset="0"/>
                          <a:cs typeface="Open Sans" panose="020B0606030504020204" pitchFamily="34" charset="0"/>
                        </a:rPr>
                        <a:t>Sessions as defined by the FSSs/OPs</a:t>
                      </a: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2529613"/>
                  </a:ext>
                </a:extLst>
              </a:tr>
              <a:tr h="0">
                <a:tc>
                  <a:txBody>
                    <a:bodyPr/>
                    <a:lstStyle/>
                    <a:p>
                      <a:r>
                        <a:rPr lang="en-US" sz="900" b="1" cap="all" baseline="0">
                          <a:solidFill>
                            <a:schemeClr val="bg1"/>
                          </a:solidFill>
                          <a:latin typeface="Open Sans" panose="020B0606030504020204" pitchFamily="34" charset="0"/>
                          <a:ea typeface="Open Sans" panose="020B0606030504020204" pitchFamily="34" charset="0"/>
                          <a:cs typeface="Open Sans" panose="020B0606030504020204" pitchFamily="34" charset="0"/>
                        </a:rPr>
                        <a:t>Industry</a:t>
                      </a: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8">
                  <a:txBody>
                    <a:bodyPr/>
                    <a:lstStyle/>
                    <a:p>
                      <a:pPr algn="ctr"/>
                      <a:r>
                        <a:rPr lang="en-US" sz="800" b="1" i="0">
                          <a:latin typeface="Open Sans" panose="020B0606030504020204" pitchFamily="34" charset="0"/>
                          <a:ea typeface="Open Sans" panose="020B0606030504020204" pitchFamily="34" charset="0"/>
                          <a:cs typeface="Open Sans" panose="020B0606030504020204" pitchFamily="34" charset="0"/>
                        </a:rPr>
                        <a:t>Sessions as defined by the Industry or FSS teams</a:t>
                      </a: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08018311"/>
                  </a:ext>
                </a:extLst>
              </a:tr>
              <a:tr h="0">
                <a:tc>
                  <a:txBody>
                    <a:bodyPr/>
                    <a:lstStyle/>
                    <a:p>
                      <a:r>
                        <a:rPr lang="en-US" sz="900" b="1" cap="all" baseline="0">
                          <a:solidFill>
                            <a:schemeClr val="bg1"/>
                          </a:solidFill>
                          <a:latin typeface="Open Sans" panose="020B0606030504020204" pitchFamily="34" charset="0"/>
                          <a:ea typeface="Open Sans" panose="020B0606030504020204" pitchFamily="34" charset="0"/>
                          <a:cs typeface="Open Sans" panose="020B0606030504020204" pitchFamily="34" charset="0"/>
                        </a:rPr>
                        <a:t>CAPSTONES</a:t>
                      </a: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endParaRPr lang="en-US" sz="800">
                        <a:latin typeface="Open Sans" panose="020B0606030504020204" pitchFamily="34" charset="0"/>
                        <a:ea typeface="Open Sans" panose="020B0606030504020204" pitchFamily="34" charset="0"/>
                        <a:cs typeface="Open Sans" panose="020B0606030504020204" pitchFamily="34" charset="0"/>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8">
                  <a:txBody>
                    <a:bodyPr/>
                    <a:lstStyle/>
                    <a:p>
                      <a:pPr algn="ctr"/>
                      <a:r>
                        <a:rPr lang="en-US" sz="800" b="1" i="0" dirty="0">
                          <a:latin typeface="Open Sans" panose="020B0606030504020204" pitchFamily="34" charset="0"/>
                          <a:ea typeface="Open Sans" panose="020B0606030504020204" pitchFamily="34" charset="0"/>
                          <a:cs typeface="Open Sans" panose="020B0606030504020204" pitchFamily="34" charset="0"/>
                        </a:rPr>
                        <a:t>Capstone project checkpoints, interim deliverables, and pulse checks</a:t>
                      </a: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218067357"/>
                  </a:ext>
                </a:extLst>
              </a:tr>
            </a:tbl>
          </a:graphicData>
        </a:graphic>
      </p:graphicFrame>
      <p:pic>
        <p:nvPicPr>
          <p:cNvPr id="126" name="Picture 2">
            <a:extLst>
              <a:ext uri="{FF2B5EF4-FFF2-40B4-BE49-F238E27FC236}">
                <a16:creationId xmlns:a16="http://schemas.microsoft.com/office/drawing/2014/main" id="{B465F4E6-7F18-4D37-BAE4-F552E58F18E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18667" y="4074165"/>
            <a:ext cx="864789" cy="256554"/>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2">
            <a:extLst>
              <a:ext uri="{FF2B5EF4-FFF2-40B4-BE49-F238E27FC236}">
                <a16:creationId xmlns:a16="http://schemas.microsoft.com/office/drawing/2014/main" id="{6C2814FF-7D33-4B8E-BE77-B46F4D937AD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41969" y="4354383"/>
            <a:ext cx="418185" cy="484723"/>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4" descr="Anaconda (Python distribution) - Wikipedia">
            <a:extLst>
              <a:ext uri="{FF2B5EF4-FFF2-40B4-BE49-F238E27FC236}">
                <a16:creationId xmlns:a16="http://schemas.microsoft.com/office/drawing/2014/main" id="{B24F474A-58F9-49F3-B435-1D3CA499D77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909499" y="4883198"/>
            <a:ext cx="683124" cy="340797"/>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2" descr="GitHub logo and symbol, meaning, history, PNG">
            <a:extLst>
              <a:ext uri="{FF2B5EF4-FFF2-40B4-BE49-F238E27FC236}">
                <a16:creationId xmlns:a16="http://schemas.microsoft.com/office/drawing/2014/main" id="{5D26107C-4359-46A8-A012-2BB046A1D01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47772" y="2310096"/>
            <a:ext cx="750434" cy="422119"/>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6" descr="MySQL logo and symbol, meaning, history, PNG">
            <a:extLst>
              <a:ext uri="{FF2B5EF4-FFF2-40B4-BE49-F238E27FC236}">
                <a16:creationId xmlns:a16="http://schemas.microsoft.com/office/drawing/2014/main" id="{3D08F910-D9B0-4791-948D-24C613DB017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861768" y="2867767"/>
            <a:ext cx="686933" cy="429458"/>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10" descr="Microsoft Power BI Review | PCMag">
            <a:extLst>
              <a:ext uri="{FF2B5EF4-FFF2-40B4-BE49-F238E27FC236}">
                <a16:creationId xmlns:a16="http://schemas.microsoft.com/office/drawing/2014/main" id="{93E7F5EB-F367-4301-9951-0A0286B1B53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077618" y="3113356"/>
            <a:ext cx="609623" cy="343195"/>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10" descr="Microsoft Power BI Review | PCMag">
            <a:extLst>
              <a:ext uri="{FF2B5EF4-FFF2-40B4-BE49-F238E27FC236}">
                <a16:creationId xmlns:a16="http://schemas.microsoft.com/office/drawing/2014/main" id="{F1BAAC81-D231-4850-898D-6A9E4E76412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239151" y="2170770"/>
            <a:ext cx="746685" cy="420356"/>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2" descr="Welcome To Colaboratory - Colaboratory">
            <a:extLst>
              <a:ext uri="{FF2B5EF4-FFF2-40B4-BE49-F238E27FC236}">
                <a16:creationId xmlns:a16="http://schemas.microsoft.com/office/drawing/2014/main" id="{7D5EF6BE-D66B-4C26-BBD2-0BADC6734D1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678179" y="4333892"/>
            <a:ext cx="421224" cy="421224"/>
          </a:xfrm>
          <a:prstGeom prst="rect">
            <a:avLst/>
          </a:prstGeom>
          <a:noFill/>
          <a:extLst>
            <a:ext uri="{909E8E84-426E-40DD-AFC4-6F175D3DCCD1}">
              <a14:hiddenFill xmlns:a14="http://schemas.microsoft.com/office/drawing/2010/main">
                <a:solidFill>
                  <a:srgbClr val="FFFFFF"/>
                </a:solidFill>
              </a14:hiddenFill>
            </a:ext>
          </a:extLst>
        </p:spPr>
      </p:pic>
      <p:pic>
        <p:nvPicPr>
          <p:cNvPr id="156" name="Picture 14">
            <a:extLst>
              <a:ext uri="{FF2B5EF4-FFF2-40B4-BE49-F238E27FC236}">
                <a16:creationId xmlns:a16="http://schemas.microsoft.com/office/drawing/2014/main" id="{E2A43E4E-A464-4730-A2D3-5D9299BFB167}"/>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664777" y="4915355"/>
            <a:ext cx="448029" cy="303166"/>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16" descr="Keras: the Python deep learning API">
            <a:extLst>
              <a:ext uri="{FF2B5EF4-FFF2-40B4-BE49-F238E27FC236}">
                <a16:creationId xmlns:a16="http://schemas.microsoft.com/office/drawing/2014/main" id="{7AE51C31-83EB-4BD9-9DDD-D9E62BC9C407}"/>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619270" y="4711472"/>
            <a:ext cx="539042" cy="156322"/>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32" descr="What is Hadoop? How to configure a Hadoop cluster in Linux. | by Syed  Junaid Hussain | DataDrivenInvestor">
            <a:extLst>
              <a:ext uri="{FF2B5EF4-FFF2-40B4-BE49-F238E27FC236}">
                <a16:creationId xmlns:a16="http://schemas.microsoft.com/office/drawing/2014/main" id="{091F9B9A-A10B-49DC-B6C6-72779AF8EE5D}"/>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573358" y="2190724"/>
            <a:ext cx="548035" cy="287718"/>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34" descr="Apache, kafka, vertical, logo Free Icon of Vector Logo">
            <a:extLst>
              <a:ext uri="{FF2B5EF4-FFF2-40B4-BE49-F238E27FC236}">
                <a16:creationId xmlns:a16="http://schemas.microsoft.com/office/drawing/2014/main" id="{85F4DCC4-26A0-4311-9962-9A485643B372}"/>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116393" y="2312346"/>
            <a:ext cx="366357" cy="383009"/>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4">
            <a:extLst>
              <a:ext uri="{FF2B5EF4-FFF2-40B4-BE49-F238E27FC236}">
                <a16:creationId xmlns:a16="http://schemas.microsoft.com/office/drawing/2014/main" id="{4B7347F7-9005-4628-B01E-79848E41171D}"/>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627578" y="2600870"/>
            <a:ext cx="412596" cy="214357"/>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6">
            <a:extLst>
              <a:ext uri="{FF2B5EF4-FFF2-40B4-BE49-F238E27FC236}">
                <a16:creationId xmlns:a16="http://schemas.microsoft.com/office/drawing/2014/main" id="{96EED165-4224-437B-AB05-F4DD1B85C4AC}"/>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942179" y="2914068"/>
            <a:ext cx="371547" cy="334323"/>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8">
            <a:extLst>
              <a:ext uri="{FF2B5EF4-FFF2-40B4-BE49-F238E27FC236}">
                <a16:creationId xmlns:a16="http://schemas.microsoft.com/office/drawing/2014/main" id="{4541B80C-113F-482D-A966-DE4CFC38A12C}"/>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326034" y="2264945"/>
            <a:ext cx="431876" cy="258535"/>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0" descr="Microsoft Azure Logo | evolution history and meaning, PNG">
            <a:extLst>
              <a:ext uri="{FF2B5EF4-FFF2-40B4-BE49-F238E27FC236}">
                <a16:creationId xmlns:a16="http://schemas.microsoft.com/office/drawing/2014/main" id="{039A0EAA-ED9F-46D7-9503-E324B27DA41A}"/>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1004969" y="2449089"/>
            <a:ext cx="1053833" cy="592781"/>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36" descr="Kubernetes">
            <a:extLst>
              <a:ext uri="{FF2B5EF4-FFF2-40B4-BE49-F238E27FC236}">
                <a16:creationId xmlns:a16="http://schemas.microsoft.com/office/drawing/2014/main" id="{D88F6B34-9828-4D22-90FC-70191E14A7E3}"/>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1092520" y="3057134"/>
            <a:ext cx="871958" cy="188356"/>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12" descr="Home - Chatterbox Labs">
            <a:extLst>
              <a:ext uri="{FF2B5EF4-FFF2-40B4-BE49-F238E27FC236}">
                <a16:creationId xmlns:a16="http://schemas.microsoft.com/office/drawing/2014/main" id="{1AAEE7F7-220F-4D68-94B0-F1AEB9184731}"/>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0204428" y="5655238"/>
            <a:ext cx="871958" cy="108995"/>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8">
            <a:extLst>
              <a:ext uri="{FF2B5EF4-FFF2-40B4-BE49-F238E27FC236}">
                <a16:creationId xmlns:a16="http://schemas.microsoft.com/office/drawing/2014/main" id="{2E7F356E-01A9-4AE5-805D-EF9DA97EC163}"/>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0129399" y="2251681"/>
            <a:ext cx="431876" cy="258535"/>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0" descr="Microsoft Azure Logo | evolution history and meaning, PNG">
            <a:extLst>
              <a:ext uri="{FF2B5EF4-FFF2-40B4-BE49-F238E27FC236}">
                <a16:creationId xmlns:a16="http://schemas.microsoft.com/office/drawing/2014/main" id="{F2BB962B-D5B2-4814-963A-78E2AFE7CB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808334" y="2435825"/>
            <a:ext cx="1053833" cy="592781"/>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32" descr="What is Hadoop? How to configure a Hadoop cluster in Linux. | by Syed  Junaid Hussain | DataDrivenInvestor">
            <a:extLst>
              <a:ext uri="{FF2B5EF4-FFF2-40B4-BE49-F238E27FC236}">
                <a16:creationId xmlns:a16="http://schemas.microsoft.com/office/drawing/2014/main" id="{E046014D-0F5C-49A4-96BD-27C3A4F09180}"/>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693753" y="2190495"/>
            <a:ext cx="548035" cy="287718"/>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34" descr="Apache, kafka, vertical, logo Free Icon of Vector Logo">
            <a:extLst>
              <a:ext uri="{FF2B5EF4-FFF2-40B4-BE49-F238E27FC236}">
                <a16:creationId xmlns:a16="http://schemas.microsoft.com/office/drawing/2014/main" id="{E7D01824-CB3E-41B8-BF01-861238EC1C85}"/>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236788" y="2312117"/>
            <a:ext cx="366357" cy="383009"/>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4">
            <a:extLst>
              <a:ext uri="{FF2B5EF4-FFF2-40B4-BE49-F238E27FC236}">
                <a16:creationId xmlns:a16="http://schemas.microsoft.com/office/drawing/2014/main" id="{A3CC1535-E9F4-4A37-8484-51FE183D3BBE}"/>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747973" y="2600641"/>
            <a:ext cx="412596" cy="214357"/>
          </a:xfrm>
          <a:prstGeom prst="rect">
            <a:avLst/>
          </a:prstGeom>
          <a:noFill/>
          <a:extLst>
            <a:ext uri="{909E8E84-426E-40DD-AFC4-6F175D3DCCD1}">
              <a14:hiddenFill xmlns:a14="http://schemas.microsoft.com/office/drawing/2010/main">
                <a:solidFill>
                  <a:srgbClr val="FFFFFF"/>
                </a:solidFill>
              </a14:hiddenFill>
            </a:ext>
          </a:extLst>
        </p:spPr>
      </p:pic>
      <p:pic>
        <p:nvPicPr>
          <p:cNvPr id="171" name="Picture 6">
            <a:extLst>
              <a:ext uri="{FF2B5EF4-FFF2-40B4-BE49-F238E27FC236}">
                <a16:creationId xmlns:a16="http://schemas.microsoft.com/office/drawing/2014/main" id="{4C331012-109E-475F-87A5-47DE33F3B7DE}"/>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9062574" y="2913839"/>
            <a:ext cx="371547" cy="334323"/>
          </a:xfrm>
          <a:prstGeom prst="rect">
            <a:avLst/>
          </a:prstGeom>
          <a:noFill/>
          <a:extLst>
            <a:ext uri="{909E8E84-426E-40DD-AFC4-6F175D3DCCD1}">
              <a14:hiddenFill xmlns:a14="http://schemas.microsoft.com/office/drawing/2010/main">
                <a:solidFill>
                  <a:srgbClr val="FFFFFF"/>
                </a:solidFill>
              </a14:hiddenFill>
            </a:ext>
          </a:extLst>
        </p:spPr>
      </p:pic>
      <p:pic>
        <p:nvPicPr>
          <p:cNvPr id="172" name="Picture 14">
            <a:extLst>
              <a:ext uri="{FF2B5EF4-FFF2-40B4-BE49-F238E27FC236}">
                <a16:creationId xmlns:a16="http://schemas.microsoft.com/office/drawing/2014/main" id="{F39D0DBE-F989-4040-9051-0E7DFF3A75B2}"/>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028643" y="2181524"/>
            <a:ext cx="721519" cy="324684"/>
          </a:xfrm>
          <a:prstGeom prst="rect">
            <a:avLst/>
          </a:prstGeom>
          <a:noFill/>
          <a:extLst>
            <a:ext uri="{909E8E84-426E-40DD-AFC4-6F175D3DCCD1}">
              <a14:hiddenFill xmlns:a14="http://schemas.microsoft.com/office/drawing/2010/main">
                <a:solidFill>
                  <a:srgbClr val="FFFFFF"/>
                </a:solidFill>
              </a14:hiddenFill>
            </a:ext>
          </a:extLst>
        </p:spPr>
      </p:pic>
      <p:pic>
        <p:nvPicPr>
          <p:cNvPr id="173" name="Picture 16" descr="pandas - NumFOCUS">
            <a:extLst>
              <a:ext uri="{FF2B5EF4-FFF2-40B4-BE49-F238E27FC236}">
                <a16:creationId xmlns:a16="http://schemas.microsoft.com/office/drawing/2014/main" id="{92CD0D2E-0309-4188-ABBD-BAD1AB3209EB}"/>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058904" y="2376686"/>
            <a:ext cx="647053" cy="647053"/>
          </a:xfrm>
          <a:prstGeom prst="rect">
            <a:avLst/>
          </a:prstGeom>
          <a:noFill/>
          <a:extLst>
            <a:ext uri="{909E8E84-426E-40DD-AFC4-6F175D3DCCD1}">
              <a14:hiddenFill xmlns:a14="http://schemas.microsoft.com/office/drawing/2010/main">
                <a:solidFill>
                  <a:srgbClr val="FFFFFF"/>
                </a:solidFill>
              </a14:hiddenFill>
            </a:ext>
          </a:extLst>
        </p:spPr>
      </p:pic>
      <p:pic>
        <p:nvPicPr>
          <p:cNvPr id="174" name="Picture 173">
            <a:extLst>
              <a:ext uri="{FF2B5EF4-FFF2-40B4-BE49-F238E27FC236}">
                <a16:creationId xmlns:a16="http://schemas.microsoft.com/office/drawing/2014/main" id="{14A35E89-39B2-45F1-A5C3-A4E8FAFCE15F}"/>
              </a:ext>
            </a:extLst>
          </p:cNvPr>
          <p:cNvPicPr>
            <a:picLocks noChangeAspect="1"/>
          </p:cNvPicPr>
          <p:nvPr/>
        </p:nvPicPr>
        <p:blipFill>
          <a:blip r:embed="rId23"/>
          <a:stretch>
            <a:fillRect/>
          </a:stretch>
        </p:blipFill>
        <p:spPr>
          <a:xfrm>
            <a:off x="3947727" y="2962318"/>
            <a:ext cx="883349" cy="146338"/>
          </a:xfrm>
          <a:prstGeom prst="rect">
            <a:avLst/>
          </a:prstGeom>
        </p:spPr>
      </p:pic>
      <p:pic>
        <p:nvPicPr>
          <p:cNvPr id="175" name="Picture 12" descr="Welcome To Colaboratory - Colaboratory">
            <a:extLst>
              <a:ext uri="{FF2B5EF4-FFF2-40B4-BE49-F238E27FC236}">
                <a16:creationId xmlns:a16="http://schemas.microsoft.com/office/drawing/2014/main" id="{8A4ABD9C-9DB9-465D-9DE0-DC2B3B3EB65C}"/>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442251" y="4333892"/>
            <a:ext cx="421224" cy="421224"/>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14">
            <a:extLst>
              <a:ext uri="{FF2B5EF4-FFF2-40B4-BE49-F238E27FC236}">
                <a16:creationId xmlns:a16="http://schemas.microsoft.com/office/drawing/2014/main" id="{5684BEEC-87FA-415B-9707-16582C55FEE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428849" y="4915355"/>
            <a:ext cx="448029" cy="303166"/>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16" descr="Keras: the Python deep learning API">
            <a:extLst>
              <a:ext uri="{FF2B5EF4-FFF2-40B4-BE49-F238E27FC236}">
                <a16:creationId xmlns:a16="http://schemas.microsoft.com/office/drawing/2014/main" id="{3F50EFB1-E015-41F2-B301-A52EF61CD2A7}"/>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383342" y="4711472"/>
            <a:ext cx="539042" cy="156322"/>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26" descr="scikit-learn - Wikipedia">
            <a:extLst>
              <a:ext uri="{FF2B5EF4-FFF2-40B4-BE49-F238E27FC236}">
                <a16:creationId xmlns:a16="http://schemas.microsoft.com/office/drawing/2014/main" id="{3CBF55F8-5129-4972-8C1F-B6D2385A809C}"/>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958267" y="4283646"/>
            <a:ext cx="397090" cy="213767"/>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178">
            <a:extLst>
              <a:ext uri="{FF2B5EF4-FFF2-40B4-BE49-F238E27FC236}">
                <a16:creationId xmlns:a16="http://schemas.microsoft.com/office/drawing/2014/main" id="{055A20C0-5EE2-4ADE-AE5B-DE9C465DD91B}"/>
              </a:ext>
            </a:extLst>
          </p:cNvPr>
          <p:cNvPicPr>
            <a:picLocks noChangeAspect="1"/>
          </p:cNvPicPr>
          <p:nvPr/>
        </p:nvPicPr>
        <p:blipFill>
          <a:blip r:embed="rId25"/>
          <a:stretch>
            <a:fillRect/>
          </a:stretch>
        </p:blipFill>
        <p:spPr>
          <a:xfrm>
            <a:off x="4002600" y="4643874"/>
            <a:ext cx="836114" cy="183647"/>
          </a:xfrm>
          <a:prstGeom prst="rect">
            <a:avLst/>
          </a:prstGeom>
        </p:spPr>
      </p:pic>
      <p:pic>
        <p:nvPicPr>
          <p:cNvPr id="180" name="Picture 179">
            <a:extLst>
              <a:ext uri="{FF2B5EF4-FFF2-40B4-BE49-F238E27FC236}">
                <a16:creationId xmlns:a16="http://schemas.microsoft.com/office/drawing/2014/main" id="{E07256FD-179A-48BA-A219-30789814B5C4}"/>
              </a:ext>
            </a:extLst>
          </p:cNvPr>
          <p:cNvPicPr>
            <a:picLocks noChangeAspect="1"/>
          </p:cNvPicPr>
          <p:nvPr/>
        </p:nvPicPr>
        <p:blipFill>
          <a:blip r:embed="rId26"/>
          <a:stretch>
            <a:fillRect/>
          </a:stretch>
        </p:blipFill>
        <p:spPr>
          <a:xfrm>
            <a:off x="4036802" y="4923574"/>
            <a:ext cx="821319" cy="215133"/>
          </a:xfrm>
          <a:prstGeom prst="rect">
            <a:avLst/>
          </a:prstGeom>
        </p:spPr>
      </p:pic>
      <p:pic>
        <p:nvPicPr>
          <p:cNvPr id="181" name="Picture 14">
            <a:extLst>
              <a:ext uri="{FF2B5EF4-FFF2-40B4-BE49-F238E27FC236}">
                <a16:creationId xmlns:a16="http://schemas.microsoft.com/office/drawing/2014/main" id="{FB6CF8E1-8BF1-4CA3-947D-7AED0DBAA6F9}"/>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008853" y="3933400"/>
            <a:ext cx="721519" cy="324684"/>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16" descr="pandas - NumFOCUS">
            <a:extLst>
              <a:ext uri="{FF2B5EF4-FFF2-40B4-BE49-F238E27FC236}">
                <a16:creationId xmlns:a16="http://schemas.microsoft.com/office/drawing/2014/main" id="{1DC65F96-37B8-45E4-A3F8-78BED5837181}"/>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318176" y="4064419"/>
            <a:ext cx="647053" cy="647053"/>
          </a:xfrm>
          <a:prstGeom prst="rect">
            <a:avLst/>
          </a:prstGeom>
          <a:noFill/>
          <a:extLst>
            <a:ext uri="{909E8E84-426E-40DD-AFC4-6F175D3DCCD1}">
              <a14:hiddenFill xmlns:a14="http://schemas.microsoft.com/office/drawing/2010/main">
                <a:solidFill>
                  <a:srgbClr val="FFFFFF"/>
                </a:solidFill>
              </a14:hiddenFill>
            </a:ext>
          </a:extLst>
        </p:spPr>
      </p:pic>
      <p:pic>
        <p:nvPicPr>
          <p:cNvPr id="183" name="Picture 14">
            <a:extLst>
              <a:ext uri="{FF2B5EF4-FFF2-40B4-BE49-F238E27FC236}">
                <a16:creationId xmlns:a16="http://schemas.microsoft.com/office/drawing/2014/main" id="{DF3B7BA6-FABE-42FB-9A9B-2B8EABD4E2AB}"/>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5256956" y="3955564"/>
            <a:ext cx="721519" cy="324684"/>
          </a:xfrm>
          <a:prstGeom prst="rect">
            <a:avLst/>
          </a:prstGeom>
          <a:noFill/>
          <a:extLst>
            <a:ext uri="{909E8E84-426E-40DD-AFC4-6F175D3DCCD1}">
              <a14:hiddenFill xmlns:a14="http://schemas.microsoft.com/office/drawing/2010/main">
                <a:solidFill>
                  <a:srgbClr val="FFFFFF"/>
                </a:solidFill>
              </a14:hiddenFill>
            </a:ext>
          </a:extLst>
        </p:spPr>
      </p:pic>
      <p:pic>
        <p:nvPicPr>
          <p:cNvPr id="184" name="Picture 16" descr="pandas - NumFOCUS">
            <a:extLst>
              <a:ext uri="{FF2B5EF4-FFF2-40B4-BE49-F238E27FC236}">
                <a16:creationId xmlns:a16="http://schemas.microsoft.com/office/drawing/2014/main" id="{CC8A49CD-0573-42BB-8DC0-FF1939404B22}"/>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5294187" y="4135936"/>
            <a:ext cx="647053" cy="647053"/>
          </a:xfrm>
          <a:prstGeom prst="rect">
            <a:avLst/>
          </a:prstGeom>
          <a:noFill/>
          <a:extLst>
            <a:ext uri="{909E8E84-426E-40DD-AFC4-6F175D3DCCD1}">
              <a14:hiddenFill xmlns:a14="http://schemas.microsoft.com/office/drawing/2010/main">
                <a:solidFill>
                  <a:srgbClr val="FFFFFF"/>
                </a:solidFill>
              </a14:hiddenFill>
            </a:ext>
          </a:extLst>
        </p:spPr>
      </p:pic>
      <p:pic>
        <p:nvPicPr>
          <p:cNvPr id="185" name="Picture 184">
            <a:extLst>
              <a:ext uri="{FF2B5EF4-FFF2-40B4-BE49-F238E27FC236}">
                <a16:creationId xmlns:a16="http://schemas.microsoft.com/office/drawing/2014/main" id="{39969381-364F-4475-94A2-CE90358948D6}"/>
              </a:ext>
            </a:extLst>
          </p:cNvPr>
          <p:cNvPicPr>
            <a:picLocks noChangeAspect="1"/>
          </p:cNvPicPr>
          <p:nvPr/>
        </p:nvPicPr>
        <p:blipFill>
          <a:blip r:embed="rId23"/>
          <a:stretch>
            <a:fillRect/>
          </a:stretch>
        </p:blipFill>
        <p:spPr>
          <a:xfrm>
            <a:off x="5176040" y="4709820"/>
            <a:ext cx="883349" cy="146338"/>
          </a:xfrm>
          <a:prstGeom prst="rect">
            <a:avLst/>
          </a:prstGeom>
        </p:spPr>
      </p:pic>
      <p:pic>
        <p:nvPicPr>
          <p:cNvPr id="186" name="Picture 26" descr="scikit-learn - Wikipedia">
            <a:extLst>
              <a:ext uri="{FF2B5EF4-FFF2-40B4-BE49-F238E27FC236}">
                <a16:creationId xmlns:a16="http://schemas.microsoft.com/office/drawing/2014/main" id="{4C44FCC8-9240-49E1-982B-BDC5518097D9}"/>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327360" y="4923574"/>
            <a:ext cx="580710" cy="312616"/>
          </a:xfrm>
          <a:prstGeom prst="rect">
            <a:avLst/>
          </a:prstGeom>
          <a:noFill/>
          <a:extLst>
            <a:ext uri="{909E8E84-426E-40DD-AFC4-6F175D3DCCD1}">
              <a14:hiddenFill xmlns:a14="http://schemas.microsoft.com/office/drawing/2010/main">
                <a:solidFill>
                  <a:srgbClr val="FFFFFF"/>
                </a:solidFill>
              </a14:hiddenFill>
            </a:ext>
          </a:extLst>
        </p:spPr>
      </p:pic>
      <p:sp>
        <p:nvSpPr>
          <p:cNvPr id="187" name="Star: 5 Points 186">
            <a:extLst>
              <a:ext uri="{FF2B5EF4-FFF2-40B4-BE49-F238E27FC236}">
                <a16:creationId xmlns:a16="http://schemas.microsoft.com/office/drawing/2014/main" id="{3E2FD1B3-003F-455E-ABA8-7B28372CBAD2}"/>
              </a:ext>
            </a:extLst>
          </p:cNvPr>
          <p:cNvSpPr/>
          <p:nvPr/>
        </p:nvSpPr>
        <p:spPr bwMode="gray">
          <a:xfrm>
            <a:off x="3360129" y="2035895"/>
            <a:ext cx="182880" cy="182880"/>
          </a:xfrm>
          <a:prstGeom prst="star5">
            <a:avLst/>
          </a:prstGeom>
          <a:solidFill>
            <a:srgbClr val="FFFF00"/>
          </a:solidFill>
          <a:ln w="3175"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88" name="Star: 5 Points 187">
            <a:extLst>
              <a:ext uri="{FF2B5EF4-FFF2-40B4-BE49-F238E27FC236}">
                <a16:creationId xmlns:a16="http://schemas.microsoft.com/office/drawing/2014/main" id="{0794895E-0E67-4E1F-B111-30719A7267B1}"/>
              </a:ext>
            </a:extLst>
          </p:cNvPr>
          <p:cNvSpPr/>
          <p:nvPr/>
        </p:nvSpPr>
        <p:spPr bwMode="gray">
          <a:xfrm>
            <a:off x="3532136" y="3706486"/>
            <a:ext cx="182880" cy="182880"/>
          </a:xfrm>
          <a:prstGeom prst="star5">
            <a:avLst/>
          </a:prstGeom>
          <a:solidFill>
            <a:srgbClr val="FFFF00"/>
          </a:solidFill>
          <a:ln w="3175"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89" name="Star: 5 Points 188">
            <a:extLst>
              <a:ext uri="{FF2B5EF4-FFF2-40B4-BE49-F238E27FC236}">
                <a16:creationId xmlns:a16="http://schemas.microsoft.com/office/drawing/2014/main" id="{F29AF44F-C84F-4678-8F1D-CF9A8F13E546}"/>
              </a:ext>
            </a:extLst>
          </p:cNvPr>
          <p:cNvSpPr/>
          <p:nvPr/>
        </p:nvSpPr>
        <p:spPr bwMode="gray">
          <a:xfrm>
            <a:off x="5701113" y="2035895"/>
            <a:ext cx="182880" cy="182880"/>
          </a:xfrm>
          <a:prstGeom prst="star5">
            <a:avLst/>
          </a:prstGeom>
          <a:solidFill>
            <a:srgbClr val="FFFF00"/>
          </a:solidFill>
          <a:ln w="3175"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90" name="Star: 5 Points 189">
            <a:extLst>
              <a:ext uri="{FF2B5EF4-FFF2-40B4-BE49-F238E27FC236}">
                <a16:creationId xmlns:a16="http://schemas.microsoft.com/office/drawing/2014/main" id="{B61402E2-63D4-4CEE-8A95-E59D93FBA52B}"/>
              </a:ext>
            </a:extLst>
          </p:cNvPr>
          <p:cNvSpPr/>
          <p:nvPr/>
        </p:nvSpPr>
        <p:spPr bwMode="gray">
          <a:xfrm>
            <a:off x="7000998" y="4178539"/>
            <a:ext cx="182880" cy="182880"/>
          </a:xfrm>
          <a:prstGeom prst="star5">
            <a:avLst/>
          </a:prstGeom>
          <a:solidFill>
            <a:srgbClr val="FFFF00"/>
          </a:solidFill>
          <a:ln w="3175"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91" name="Star: 5 Points 190">
            <a:extLst>
              <a:ext uri="{FF2B5EF4-FFF2-40B4-BE49-F238E27FC236}">
                <a16:creationId xmlns:a16="http://schemas.microsoft.com/office/drawing/2014/main" id="{72EB3733-B4BD-44B6-BCB6-8D865FEF73C2}"/>
              </a:ext>
            </a:extLst>
          </p:cNvPr>
          <p:cNvSpPr/>
          <p:nvPr/>
        </p:nvSpPr>
        <p:spPr bwMode="gray">
          <a:xfrm>
            <a:off x="8174751" y="4178539"/>
            <a:ext cx="182880" cy="182880"/>
          </a:xfrm>
          <a:prstGeom prst="star5">
            <a:avLst/>
          </a:prstGeom>
          <a:solidFill>
            <a:srgbClr val="FFFF00"/>
          </a:solidFill>
          <a:ln w="3175"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92" name="Star: 5 Points 191">
            <a:extLst>
              <a:ext uri="{FF2B5EF4-FFF2-40B4-BE49-F238E27FC236}">
                <a16:creationId xmlns:a16="http://schemas.microsoft.com/office/drawing/2014/main" id="{B51DEBBB-3E46-4E34-97D9-21ED43C669F8}"/>
              </a:ext>
            </a:extLst>
          </p:cNvPr>
          <p:cNvSpPr/>
          <p:nvPr/>
        </p:nvSpPr>
        <p:spPr bwMode="gray">
          <a:xfrm>
            <a:off x="10679287" y="1975334"/>
            <a:ext cx="182880" cy="182880"/>
          </a:xfrm>
          <a:prstGeom prst="star5">
            <a:avLst/>
          </a:prstGeom>
          <a:solidFill>
            <a:srgbClr val="FFFF00"/>
          </a:solidFill>
          <a:ln w="3175"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93" name="Star: 5 Points 192">
            <a:extLst>
              <a:ext uri="{FF2B5EF4-FFF2-40B4-BE49-F238E27FC236}">
                <a16:creationId xmlns:a16="http://schemas.microsoft.com/office/drawing/2014/main" id="{03848649-6FBC-4F01-AF0E-87B675D7D635}"/>
              </a:ext>
            </a:extLst>
          </p:cNvPr>
          <p:cNvSpPr/>
          <p:nvPr/>
        </p:nvSpPr>
        <p:spPr bwMode="gray">
          <a:xfrm>
            <a:off x="11845821" y="1979414"/>
            <a:ext cx="182880" cy="182880"/>
          </a:xfrm>
          <a:prstGeom prst="star5">
            <a:avLst/>
          </a:prstGeom>
          <a:solidFill>
            <a:srgbClr val="FFFF00"/>
          </a:solidFill>
          <a:ln w="3175"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94" name="Oval 193">
            <a:extLst>
              <a:ext uri="{FF2B5EF4-FFF2-40B4-BE49-F238E27FC236}">
                <a16:creationId xmlns:a16="http://schemas.microsoft.com/office/drawing/2014/main" id="{73C11BC7-5AEF-4C9C-8E85-028FB9DD2A33}"/>
              </a:ext>
            </a:extLst>
          </p:cNvPr>
          <p:cNvSpPr/>
          <p:nvPr/>
        </p:nvSpPr>
        <p:spPr bwMode="gray">
          <a:xfrm>
            <a:off x="57987" y="1715464"/>
            <a:ext cx="276347" cy="276347"/>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1</a:t>
            </a:r>
          </a:p>
        </p:txBody>
      </p:sp>
      <p:sp>
        <p:nvSpPr>
          <p:cNvPr id="195" name="Oval 194">
            <a:extLst>
              <a:ext uri="{FF2B5EF4-FFF2-40B4-BE49-F238E27FC236}">
                <a16:creationId xmlns:a16="http://schemas.microsoft.com/office/drawing/2014/main" id="{BACA41B1-3069-47D5-8543-61F42A97E879}"/>
              </a:ext>
            </a:extLst>
          </p:cNvPr>
          <p:cNvSpPr/>
          <p:nvPr/>
        </p:nvSpPr>
        <p:spPr bwMode="gray">
          <a:xfrm>
            <a:off x="57987" y="3483319"/>
            <a:ext cx="276347" cy="276347"/>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2</a:t>
            </a:r>
          </a:p>
        </p:txBody>
      </p:sp>
      <p:sp>
        <p:nvSpPr>
          <p:cNvPr id="196" name="Oval 195">
            <a:extLst>
              <a:ext uri="{FF2B5EF4-FFF2-40B4-BE49-F238E27FC236}">
                <a16:creationId xmlns:a16="http://schemas.microsoft.com/office/drawing/2014/main" id="{56B3007E-A2C0-4A0F-A1CB-7FFB1C3DDDF8}"/>
              </a:ext>
            </a:extLst>
          </p:cNvPr>
          <p:cNvSpPr/>
          <p:nvPr/>
        </p:nvSpPr>
        <p:spPr bwMode="gray">
          <a:xfrm>
            <a:off x="57987" y="5370330"/>
            <a:ext cx="276347" cy="276347"/>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3</a:t>
            </a:r>
          </a:p>
        </p:txBody>
      </p:sp>
      <p:sp>
        <p:nvSpPr>
          <p:cNvPr id="197" name="Oval 196">
            <a:extLst>
              <a:ext uri="{FF2B5EF4-FFF2-40B4-BE49-F238E27FC236}">
                <a16:creationId xmlns:a16="http://schemas.microsoft.com/office/drawing/2014/main" id="{A79061A8-EBF5-41B8-805E-019B843426F0}"/>
              </a:ext>
            </a:extLst>
          </p:cNvPr>
          <p:cNvSpPr/>
          <p:nvPr/>
        </p:nvSpPr>
        <p:spPr bwMode="gray">
          <a:xfrm>
            <a:off x="57987" y="5745761"/>
            <a:ext cx="276347" cy="276347"/>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4</a:t>
            </a:r>
          </a:p>
        </p:txBody>
      </p:sp>
      <p:sp>
        <p:nvSpPr>
          <p:cNvPr id="198" name="Oval 197">
            <a:extLst>
              <a:ext uri="{FF2B5EF4-FFF2-40B4-BE49-F238E27FC236}">
                <a16:creationId xmlns:a16="http://schemas.microsoft.com/office/drawing/2014/main" id="{C1A418F4-EC92-43A9-8F52-425228F05C07}"/>
              </a:ext>
            </a:extLst>
          </p:cNvPr>
          <p:cNvSpPr/>
          <p:nvPr/>
        </p:nvSpPr>
        <p:spPr bwMode="gray">
          <a:xfrm>
            <a:off x="57987" y="6040580"/>
            <a:ext cx="276347" cy="276347"/>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5</a:t>
            </a:r>
          </a:p>
        </p:txBody>
      </p:sp>
    </p:spTree>
    <p:extLst>
      <p:ext uri="{BB962C8B-B14F-4D97-AF65-F5344CB8AC3E}">
        <p14:creationId xmlns:p14="http://schemas.microsoft.com/office/powerpoint/2010/main" val="11060647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543949B-4804-4963-A641-040FEC1A2496}"/>
              </a:ext>
            </a:extLst>
          </p:cNvPr>
          <p:cNvSpPr>
            <a:spLocks noGrp="1"/>
          </p:cNvSpPr>
          <p:nvPr>
            <p:ph type="body" sz="quarter" idx="22"/>
          </p:nvPr>
        </p:nvSpPr>
        <p:spPr>
          <a:xfrm>
            <a:off x="463295" y="682940"/>
            <a:ext cx="11378638" cy="529833"/>
          </a:xfrm>
        </p:spPr>
        <p:txBody>
          <a:bodyPr/>
          <a:lstStyle/>
          <a:p>
            <a:r>
              <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Here are illustrative projects and roles that Deloitte AI Academy students will excel in</a:t>
            </a:r>
          </a:p>
        </p:txBody>
      </p:sp>
      <p:sp>
        <p:nvSpPr>
          <p:cNvPr id="4" name="Title 3">
            <a:extLst>
              <a:ext uri="{FF2B5EF4-FFF2-40B4-BE49-F238E27FC236}">
                <a16:creationId xmlns:a16="http://schemas.microsoft.com/office/drawing/2014/main" id="{DAEE1803-6C46-402C-AB88-B2E0DEFA8E5C}"/>
              </a:ext>
            </a:extLst>
          </p:cNvPr>
          <p:cNvSpPr>
            <a:spLocks noGrp="1"/>
          </p:cNvSpPr>
          <p:nvPr>
            <p:ph type="title"/>
          </p:nvPr>
        </p:nvSpPr>
        <p:spPr/>
        <p:txBody>
          <a:bodyPr/>
          <a:lstStyle/>
          <a:p>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Role Archetypes</a:t>
            </a:r>
          </a:p>
        </p:txBody>
      </p:sp>
      <p:graphicFrame>
        <p:nvGraphicFramePr>
          <p:cNvPr id="2" name="Table 1">
            <a:extLst>
              <a:ext uri="{FF2B5EF4-FFF2-40B4-BE49-F238E27FC236}">
                <a16:creationId xmlns:a16="http://schemas.microsoft.com/office/drawing/2014/main" id="{617D9B6F-BDDB-4D32-A745-5D58FD195F66}"/>
              </a:ext>
            </a:extLst>
          </p:cNvPr>
          <p:cNvGraphicFramePr>
            <a:graphicFrameLocks noGrp="1"/>
          </p:cNvGraphicFramePr>
          <p:nvPr>
            <p:extLst>
              <p:ext uri="{D42A27DB-BD31-4B8C-83A1-F6EECF244321}">
                <p14:modId xmlns:p14="http://schemas.microsoft.com/office/powerpoint/2010/main" val="865819937"/>
              </p:ext>
            </p:extLst>
          </p:nvPr>
        </p:nvGraphicFramePr>
        <p:xfrm>
          <a:off x="438764" y="1028946"/>
          <a:ext cx="11314473" cy="5411005"/>
        </p:xfrm>
        <a:graphic>
          <a:graphicData uri="http://schemas.openxmlformats.org/drawingml/2006/table">
            <a:tbl>
              <a:tblPr/>
              <a:tblGrid>
                <a:gridCol w="3205951">
                  <a:extLst>
                    <a:ext uri="{9D8B030D-6E8A-4147-A177-3AD203B41FA5}">
                      <a16:colId xmlns:a16="http://schemas.microsoft.com/office/drawing/2014/main" val="206460371"/>
                    </a:ext>
                  </a:extLst>
                </a:gridCol>
                <a:gridCol w="8108522">
                  <a:extLst>
                    <a:ext uri="{9D8B030D-6E8A-4147-A177-3AD203B41FA5}">
                      <a16:colId xmlns:a16="http://schemas.microsoft.com/office/drawing/2014/main" val="1132085330"/>
                    </a:ext>
                  </a:extLst>
                </a:gridCol>
              </a:tblGrid>
              <a:tr h="243532">
                <a:tc>
                  <a:txBody>
                    <a:bodyPr/>
                    <a:lstStyle/>
                    <a:p>
                      <a:pPr algn="ctr" fontAlgn="ctr"/>
                      <a:r>
                        <a:rPr lang="en-US" sz="1100" b="1" cap="all" baseline="0" dirty="0">
                          <a:solidFill>
                            <a:srgbClr val="FFFFFF"/>
                          </a:solidFill>
                          <a:effectLst/>
                          <a:latin typeface="Open Sans" panose="020B0606030504020204" pitchFamily="34" charset="0"/>
                          <a:ea typeface="Open Sans" panose="020B0606030504020204" pitchFamily="34" charset="0"/>
                          <a:cs typeface="Open Sans" panose="020B0606030504020204" pitchFamily="34" charset="0"/>
                        </a:rPr>
                        <a:t>Project Type / Scope of Services</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62626"/>
                    </a:solidFill>
                  </a:tcPr>
                </a:tc>
                <a:tc>
                  <a:txBody>
                    <a:bodyPr/>
                    <a:lstStyle/>
                    <a:p>
                      <a:pPr algn="ctr" fontAlgn="ctr"/>
                      <a:r>
                        <a:rPr lang="en-US" sz="1100" b="1" cap="all" baseline="0" dirty="0">
                          <a:solidFill>
                            <a:srgbClr val="FFFFFF"/>
                          </a:solidFill>
                          <a:effectLst/>
                          <a:latin typeface="Open Sans" panose="020B0606030504020204" pitchFamily="34" charset="0"/>
                          <a:ea typeface="Open Sans" panose="020B0606030504020204" pitchFamily="34" charset="0"/>
                          <a:cs typeface="Open Sans" panose="020B0606030504020204" pitchFamily="34" charset="0"/>
                        </a:rPr>
                        <a:t>Across</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62626"/>
                    </a:solidFill>
                  </a:tcPr>
                </a:tc>
                <a:extLst>
                  <a:ext uri="{0D108BD9-81ED-4DB2-BD59-A6C34878D82A}">
                    <a16:rowId xmlns:a16="http://schemas.microsoft.com/office/drawing/2014/main" val="2872305380"/>
                  </a:ext>
                </a:extLst>
              </a:tr>
              <a:tr h="401111">
                <a:tc>
                  <a:txBody>
                    <a:bodyPr/>
                    <a:lstStyle/>
                    <a:p>
                      <a:pPr fontAlgn="ct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dvanced Analytics, Data Science and Machine Learning</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pplying and developing statistical models; ML Algorithms; Coding on Python and other AI tools; Implementing coding best practices. Use </a:t>
                      </a:r>
                      <a:r>
                        <a:rPr kumimoji="0" lang="en-US" sz="1100" b="0" i="0" u="none" strike="noStrike" kern="1200" cap="none" spc="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ensorflow</a:t>
                      </a: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nd </a:t>
                      </a:r>
                      <a:r>
                        <a:rPr kumimoji="0" lang="en-US" sz="1100" b="0" i="0" u="none" strike="noStrike" kern="1200" cap="none" spc="0" normalizeH="0" baseline="0" noProof="0" dirty="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Keras</a:t>
                      </a: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in deep learning applications</a:t>
                      </a:r>
                      <a:endPar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31395186"/>
                  </a:ext>
                </a:extLst>
              </a:tr>
              <a:tr h="401111">
                <a:tc>
                  <a:txBody>
                    <a:bodyPr/>
                    <a:lstStyle/>
                    <a:p>
                      <a:pPr fontAlgn="ct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ata Visualization and AI Insights</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ata visualization and extracting inferences, Handling missing values, Data encoding techniques, Data normalization, Feature engineering, Data transformation and using linear algebra in Machine Learning </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15709909"/>
                  </a:ext>
                </a:extLst>
              </a:tr>
              <a:tr h="401111">
                <a:tc>
                  <a:txBody>
                    <a:bodyPr/>
                    <a:lstStyle/>
                    <a:p>
                      <a:pPr fontAlgn="ct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nalytics and Insights</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nalysis of diverse data sets across Functional Areas like Customer and Pricing, Supply Chain; Can work on Deloitte proprietary insights offerings like </a:t>
                      </a:r>
                      <a:r>
                        <a:rPr lang="en-US" sz="1100"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nsightIQ</a:t>
                      </a:r>
                      <a:endPar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76392101"/>
                  </a:ext>
                </a:extLst>
              </a:tr>
              <a:tr h="558691">
                <a:tc>
                  <a:txBody>
                    <a:bodyPr/>
                    <a:lstStyle/>
                    <a:p>
                      <a:pPr fontAlgn="ct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Vision AI, Conversational AI</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dvanced analytics on Vision AI and Conversational AI. Computer Vision (Understanding of pixels, maps, image types, basic image operations like erosion, filtering &amp; segmentation); Conversational AI </a:t>
                      </a: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ext processing (Text cleaning, stemming/lemmatizing data, count matrix, TFIDF matrix), Speech recognition</a:t>
                      </a:r>
                      <a:endPar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58137818"/>
                  </a:ext>
                </a:extLst>
              </a:tr>
              <a:tr h="401111">
                <a:tc>
                  <a:txBody>
                    <a:bodyPr/>
                    <a:lstStyle/>
                    <a:p>
                      <a:pPr fontAlgn="ct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loud Machine Learning</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Use of data cloud, Deployment of analytics ML models on Cloud like AWS and Azure; Cloud storage, database design, DDL/DML operations, AWS/Azure Data Warehouse</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37488788"/>
                  </a:ext>
                </a:extLst>
              </a:tr>
              <a:tr h="401111">
                <a:tc>
                  <a:txBody>
                    <a:bodyPr/>
                    <a:lstStyle/>
                    <a:p>
                      <a:pPr fontAlgn="ct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ML Ops</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ML model deployment, dependencies, deployment automation using Flask &amp; Kubernetes, scaling, management and operations</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53939020"/>
                  </a:ext>
                </a:extLst>
              </a:tr>
              <a:tr h="399449">
                <a:tc>
                  <a:txBody>
                    <a:bodyPr/>
                    <a:lstStyle/>
                    <a:p>
                      <a:pPr fontAlgn="ct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I Ops</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nalytics on packaged products with some specific on the job trainings</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27486578"/>
                  </a:ext>
                </a:extLst>
              </a:tr>
              <a:tr h="399449">
                <a:tc>
                  <a:txBody>
                    <a:bodyPr/>
                    <a:lstStyle/>
                    <a:p>
                      <a:pPr fontAlgn="ct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nalytics in Operate projects</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Ongoing data analysis, insights as a services engagements </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90080734"/>
                  </a:ext>
                </a:extLst>
              </a:tr>
              <a:tr h="399449">
                <a:tc>
                  <a:txBody>
                    <a:bodyPr/>
                    <a:lstStyle/>
                    <a:p>
                      <a:pPr fontAlgn="ct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I Automation</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reation of automation of work streams, digital FTEs and other tools to streamline and drive productivity</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08205542"/>
                  </a:ext>
                </a:extLst>
              </a:tr>
              <a:tr h="399449">
                <a:tc>
                  <a:txBody>
                    <a:bodyPr/>
                    <a:lstStyle/>
                    <a:p>
                      <a:pPr fontAlgn="ct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nalytics on Data Platforms</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an be part of teams doing analytics and development on platforms like </a:t>
                      </a:r>
                      <a:r>
                        <a:rPr lang="en-US" sz="1100"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rtexAI</a:t>
                      </a:r>
                      <a:r>
                        <a:rPr lang="en-US" sz="1100" baseline="30000"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M</a:t>
                      </a: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r </a:t>
                      </a:r>
                      <a:r>
                        <a:rPr lang="en-US" sz="1100"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nvergeConsumer</a:t>
                      </a: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10746331"/>
                  </a:ext>
                </a:extLst>
              </a:tr>
              <a:tr h="399449">
                <a:tc>
                  <a:txBody>
                    <a:bodyPr/>
                    <a:lstStyle/>
                    <a:p>
                      <a:pPr fontAlgn="ct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I Assets development</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evelopment of AI, analytics and data assets</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34643885"/>
                  </a:ext>
                </a:extLst>
              </a:tr>
              <a:tr h="401111">
                <a:tc>
                  <a:txBody>
                    <a:bodyPr/>
                    <a:lstStyle/>
                    <a:p>
                      <a:pPr fontAlgn="ct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ding Projects</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re-processing and data transformations in Big Data (storage, Hive data types, Hive query language, data formats, performance optimization); </a:t>
                      </a:r>
                      <a:r>
                        <a:rPr lang="en-US" sz="1100" dirty="0" err="1">
                          <a:solidFill>
                            <a:srgbClr val="000000"/>
                          </a:solidFill>
                          <a:effectLst/>
                          <a:latin typeface="Open Sans" panose="020B0606030504020204" pitchFamily="34" charset="0"/>
                          <a:ea typeface="Open Sans" panose="020B0606030504020204" pitchFamily="34" charset="0"/>
                          <a:cs typeface="Open Sans" panose="020B0606030504020204" pitchFamily="34" charset="0"/>
                        </a:rPr>
                        <a:t>PySpark</a:t>
                      </a:r>
                      <a:r>
                        <a:rPr lang="en-US" sz="1100"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Python etc.</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81328702"/>
                  </a:ext>
                </a:extLst>
              </a:tr>
            </a:tbl>
          </a:graphicData>
        </a:graphic>
      </p:graphicFrame>
    </p:spTree>
    <p:extLst>
      <p:ext uri="{BB962C8B-B14F-4D97-AF65-F5344CB8AC3E}">
        <p14:creationId xmlns:p14="http://schemas.microsoft.com/office/powerpoint/2010/main" val="568857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31DEAE02-6A4A-47DE-A375-20A96F84634F}"/>
              </a:ext>
            </a:extLst>
          </p:cNvPr>
          <p:cNvSpPr/>
          <p:nvPr/>
        </p:nvSpPr>
        <p:spPr bwMode="gray">
          <a:xfrm>
            <a:off x="0" y="1067932"/>
            <a:ext cx="12192000" cy="785637"/>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8" name="Picture 7">
            <a:extLst>
              <a:ext uri="{FF2B5EF4-FFF2-40B4-BE49-F238E27FC236}">
                <a16:creationId xmlns:a16="http://schemas.microsoft.com/office/drawing/2014/main" id="{49967B5A-8598-45D8-A5B4-C09C85841A0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4704651" y="2715159"/>
            <a:ext cx="2929080" cy="2933244"/>
          </a:xfrm>
          <a:prstGeom prst="rect">
            <a:avLst/>
          </a:prstGeom>
        </p:spPr>
      </p:pic>
      <p:sp>
        <p:nvSpPr>
          <p:cNvPr id="11" name="Rectangle 10">
            <a:extLst>
              <a:ext uri="{FF2B5EF4-FFF2-40B4-BE49-F238E27FC236}">
                <a16:creationId xmlns:a16="http://schemas.microsoft.com/office/drawing/2014/main" id="{8DA05330-3997-4779-90F6-550E73E8DB69}"/>
              </a:ext>
            </a:extLst>
          </p:cNvPr>
          <p:cNvSpPr/>
          <p:nvPr/>
        </p:nvSpPr>
        <p:spPr>
          <a:xfrm>
            <a:off x="4651294" y="2673145"/>
            <a:ext cx="3035795" cy="2985596"/>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600" b="0" i="0" u="none" strike="noStrike" kern="1200" cap="none" spc="0" normalizeH="0" baseline="0" noProof="0" dirty="0">
                <a:ln w="0"/>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Deloitte AI </a:t>
            </a:r>
            <a:r>
              <a:rPr kumimoji="0" lang="en-US" sz="6600" b="0" i="0" u="none" strike="noStrike" kern="1200" cap="none" spc="0" normalizeH="0" baseline="0" noProof="0" dirty="0" err="1">
                <a:ln w="0"/>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Academy</a:t>
            </a:r>
            <a:r>
              <a:rPr kumimoji="0" lang="en-US" sz="6600" b="0" i="0" u="none" strike="noStrike" kern="1200" cap="none" spc="0" normalizeH="0" baseline="30000" noProof="0" dirty="0" err="1">
                <a:ln w="0"/>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TM</a:t>
            </a:r>
            <a:endParaRPr kumimoji="0" lang="en-US" sz="6600" b="0" i="0" u="none" strike="noStrike" kern="1200" cap="none" spc="0" normalizeH="0" baseline="30000" noProof="0" dirty="0">
              <a:ln w="0"/>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13" name="TextBox 12">
            <a:extLst>
              <a:ext uri="{FF2B5EF4-FFF2-40B4-BE49-F238E27FC236}">
                <a16:creationId xmlns:a16="http://schemas.microsoft.com/office/drawing/2014/main" id="{FE95E9C7-B3D9-4338-BFFA-74B44BEAA23E}"/>
              </a:ext>
            </a:extLst>
          </p:cNvPr>
          <p:cNvSpPr txBox="1"/>
          <p:nvPr/>
        </p:nvSpPr>
        <p:spPr>
          <a:xfrm>
            <a:off x="463379" y="1715598"/>
            <a:ext cx="1803379" cy="123110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8000" b="1" i="0" u="none" strike="noStrike" kern="1200" cap="none" spc="0" normalizeH="0" baseline="0" noProof="0" dirty="0">
                <a:ln>
                  <a:noFill/>
                </a:ln>
                <a:solidFill>
                  <a:srgbClr val="00B0F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218</a:t>
            </a:r>
          </a:p>
        </p:txBody>
      </p:sp>
      <p:sp>
        <p:nvSpPr>
          <p:cNvPr id="14" name="TextBox 13">
            <a:extLst>
              <a:ext uri="{FF2B5EF4-FFF2-40B4-BE49-F238E27FC236}">
                <a16:creationId xmlns:a16="http://schemas.microsoft.com/office/drawing/2014/main" id="{27E5C2AE-BC9B-4A0B-99F2-3D1D1AC1AFC4}"/>
              </a:ext>
            </a:extLst>
          </p:cNvPr>
          <p:cNvSpPr txBox="1"/>
          <p:nvPr/>
        </p:nvSpPr>
        <p:spPr>
          <a:xfrm>
            <a:off x="2313868" y="2054152"/>
            <a:ext cx="2799108"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800" b="0" i="0" u="none" strike="noStrike" kern="1200" cap="all"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tudents in USI ACROSS </a:t>
            </a:r>
            <a:r>
              <a:rPr kumimoji="0" lang="en-US" sz="1800" b="1" i="0" u="none" strike="noStrike" kern="1200" cap="all" spc="0" normalizeH="0" baseline="0" noProof="0" dirty="0">
                <a:ln>
                  <a:noFill/>
                </a:ln>
                <a:solidFill>
                  <a:srgbClr val="00B0F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all 4 functions &amp; ITS </a:t>
            </a:r>
          </a:p>
        </p:txBody>
      </p:sp>
      <p:sp>
        <p:nvSpPr>
          <p:cNvPr id="15" name="TextBox 14">
            <a:extLst>
              <a:ext uri="{FF2B5EF4-FFF2-40B4-BE49-F238E27FC236}">
                <a16:creationId xmlns:a16="http://schemas.microsoft.com/office/drawing/2014/main" id="{5E6D0C34-2342-41F0-B97D-1F90F6468F23}"/>
              </a:ext>
            </a:extLst>
          </p:cNvPr>
          <p:cNvSpPr txBox="1"/>
          <p:nvPr/>
        </p:nvSpPr>
        <p:spPr>
          <a:xfrm>
            <a:off x="463379" y="2735231"/>
            <a:ext cx="1771319" cy="144655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1" i="0" u="none" strike="noStrike" kern="1200" cap="none" spc="0" normalizeH="0" baseline="0" noProof="0" dirty="0">
                <a:ln>
                  <a:noFill/>
                </a:ln>
                <a:solidFill>
                  <a:srgbClr val="007CB0"/>
                </a:solidFill>
                <a:effectLst/>
                <a:uLnTx/>
                <a:uFillTx/>
                <a:latin typeface="Open Sans" panose="020B0606030504020204" pitchFamily="34" charset="0"/>
                <a:ea typeface="Open Sans" panose="020B0606030504020204" pitchFamily="34" charset="0"/>
                <a:cs typeface="Open Sans" panose="020B0606030504020204" pitchFamily="34" charset="0"/>
              </a:rPr>
              <a:t>169</a:t>
            </a:r>
            <a:r>
              <a:rPr kumimoji="0" lang="en-US" sz="1800" b="1" i="0" u="none" strike="noStrike" kern="1200" cap="none" spc="0" normalizeH="0" baseline="0" noProof="0" dirty="0">
                <a:ln>
                  <a:noFill/>
                </a:ln>
                <a:solidFill>
                  <a:srgbClr val="007CB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80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sulting</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1" i="0" u="none" strike="noStrike" kern="1200" cap="none" spc="0" normalizeH="0" baseline="0" noProof="0" dirty="0">
                <a:ln>
                  <a:noFill/>
                </a:ln>
                <a:solidFill>
                  <a:srgbClr val="007CB0"/>
                </a:solidFill>
                <a:effectLst/>
                <a:uLnTx/>
                <a:uFillTx/>
                <a:latin typeface="Open Sans" panose="020B0606030504020204" pitchFamily="34" charset="0"/>
                <a:ea typeface="Open Sans" panose="020B0606030504020204" pitchFamily="34" charset="0"/>
                <a:cs typeface="Open Sans" panose="020B0606030504020204" pitchFamily="34" charset="0"/>
              </a:rPr>
              <a:t>32</a:t>
            </a:r>
            <a:r>
              <a:rPr kumimoji="0" lang="en-US" sz="180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dvisory</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1" i="0" u="none" strike="noStrike" kern="1200" cap="none" spc="0" normalizeH="0" baseline="0" noProof="0" dirty="0">
                <a:ln>
                  <a:noFill/>
                </a:ln>
                <a:solidFill>
                  <a:srgbClr val="007CB0"/>
                </a:solidFill>
                <a:effectLst/>
                <a:uLnTx/>
                <a:uFillTx/>
                <a:latin typeface="Open Sans" panose="020B0606030504020204" pitchFamily="34" charset="0"/>
                <a:ea typeface="Open Sans" panose="020B0606030504020204" pitchFamily="34" charset="0"/>
                <a:cs typeface="Open Sans" panose="020B0606030504020204" pitchFamily="34" charset="0"/>
              </a:rPr>
              <a:t>8</a:t>
            </a:r>
            <a:r>
              <a:rPr kumimoji="0" lang="en-US" sz="180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ITS</a:t>
            </a:r>
          </a:p>
        </p:txBody>
      </p:sp>
      <p:sp>
        <p:nvSpPr>
          <p:cNvPr id="16" name="TextBox 15">
            <a:extLst>
              <a:ext uri="{FF2B5EF4-FFF2-40B4-BE49-F238E27FC236}">
                <a16:creationId xmlns:a16="http://schemas.microsoft.com/office/drawing/2014/main" id="{047ED2D0-4EB9-43AA-A2B6-3CEB36C054BC}"/>
              </a:ext>
            </a:extLst>
          </p:cNvPr>
          <p:cNvSpPr txBox="1"/>
          <p:nvPr/>
        </p:nvSpPr>
        <p:spPr>
          <a:xfrm>
            <a:off x="463379" y="5282600"/>
            <a:ext cx="1202252" cy="123110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8000" b="1" i="0" u="none" strike="noStrike" kern="1200" cap="none" spc="0" normalizeH="0" baseline="0" noProof="0" dirty="0">
                <a:ln>
                  <a:noFill/>
                </a:ln>
                <a:solidFill>
                  <a:srgbClr val="00B0F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56</a:t>
            </a:r>
          </a:p>
        </p:txBody>
      </p:sp>
      <p:sp>
        <p:nvSpPr>
          <p:cNvPr id="17" name="TextBox 16">
            <a:extLst>
              <a:ext uri="{FF2B5EF4-FFF2-40B4-BE49-F238E27FC236}">
                <a16:creationId xmlns:a16="http://schemas.microsoft.com/office/drawing/2014/main" id="{138ED1E8-D144-4867-B472-26C8DDBA139C}"/>
              </a:ext>
            </a:extLst>
          </p:cNvPr>
          <p:cNvSpPr txBox="1"/>
          <p:nvPr/>
        </p:nvSpPr>
        <p:spPr>
          <a:xfrm>
            <a:off x="1759185" y="5482655"/>
            <a:ext cx="2882249" cy="8309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800" b="0" i="0" u="none" strike="noStrike" kern="1200" cap="all"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loitte coaches and mentors </a:t>
            </a:r>
            <a:r>
              <a:rPr kumimoji="0" lang="en-US" sz="1800" b="1" i="0" u="none" strike="noStrike" kern="1200" cap="all" spc="0" normalizeH="0" baseline="0" noProof="0" dirty="0">
                <a:ln>
                  <a:noFill/>
                </a:ln>
                <a:solidFill>
                  <a:srgbClr val="00B0F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SUPPORTING ALL STUDENTS</a:t>
            </a:r>
          </a:p>
        </p:txBody>
      </p:sp>
      <p:pic>
        <p:nvPicPr>
          <p:cNvPr id="3074" name="Picture 2">
            <a:extLst>
              <a:ext uri="{FF2B5EF4-FFF2-40B4-BE49-F238E27FC236}">
                <a16:creationId xmlns:a16="http://schemas.microsoft.com/office/drawing/2014/main" id="{6900E683-9907-43F7-8FAD-6F837185A52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52870" y="5684598"/>
            <a:ext cx="796424" cy="58732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ome - Chatterbox Labs">
            <a:extLst>
              <a:ext uri="{FF2B5EF4-FFF2-40B4-BE49-F238E27FC236}">
                <a16:creationId xmlns:a16="http://schemas.microsoft.com/office/drawing/2014/main" id="{C6866F98-7010-4297-A78D-80BF62D9E85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508507" y="5888001"/>
            <a:ext cx="1444155" cy="180520"/>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a:extLst>
              <a:ext uri="{FF2B5EF4-FFF2-40B4-BE49-F238E27FC236}">
                <a16:creationId xmlns:a16="http://schemas.microsoft.com/office/drawing/2014/main" id="{9F176182-E5CC-4DC6-9400-EB57D230F52D}"/>
              </a:ext>
            </a:extLst>
          </p:cNvPr>
          <p:cNvGrpSpPr/>
          <p:nvPr/>
        </p:nvGrpSpPr>
        <p:grpSpPr>
          <a:xfrm>
            <a:off x="-66934" y="1075027"/>
            <a:ext cx="12204062" cy="666577"/>
            <a:chOff x="38100" y="1075027"/>
            <a:chExt cx="12204062" cy="666577"/>
          </a:xfrm>
        </p:grpSpPr>
        <p:cxnSp>
          <p:nvCxnSpPr>
            <p:cNvPr id="20" name="Straight Connector 19">
              <a:extLst>
                <a:ext uri="{FF2B5EF4-FFF2-40B4-BE49-F238E27FC236}">
                  <a16:creationId xmlns:a16="http://schemas.microsoft.com/office/drawing/2014/main" id="{349CC46E-BC9E-4818-92BF-C1D7C18972EC}"/>
                </a:ext>
              </a:extLst>
            </p:cNvPr>
            <p:cNvCxnSpPr>
              <a:cxnSpLocks/>
            </p:cNvCxnSpPr>
            <p:nvPr/>
          </p:nvCxnSpPr>
          <p:spPr>
            <a:xfrm>
              <a:off x="736068" y="1329542"/>
              <a:ext cx="11417832" cy="0"/>
            </a:xfrm>
            <a:prstGeom prst="line">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52244615-D3FE-4354-A599-1DB25CD60898}"/>
                </a:ext>
              </a:extLst>
            </p:cNvPr>
            <p:cNvSpPr txBox="1"/>
            <p:nvPr/>
          </p:nvSpPr>
          <p:spPr>
            <a:xfrm>
              <a:off x="38100" y="1433827"/>
              <a:ext cx="1395934"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College Grad</a:t>
              </a:r>
            </a:p>
          </p:txBody>
        </p:sp>
        <p:sp>
          <p:nvSpPr>
            <p:cNvPr id="22" name="Star: 5 Points 21">
              <a:extLst>
                <a:ext uri="{FF2B5EF4-FFF2-40B4-BE49-F238E27FC236}">
                  <a16:creationId xmlns:a16="http://schemas.microsoft.com/office/drawing/2014/main" id="{3BBAD443-DAA2-441F-95FD-5B8319901E96}"/>
                </a:ext>
              </a:extLst>
            </p:cNvPr>
            <p:cNvSpPr/>
            <p:nvPr/>
          </p:nvSpPr>
          <p:spPr>
            <a:xfrm>
              <a:off x="592773" y="1165115"/>
              <a:ext cx="293686" cy="275183"/>
            </a:xfrm>
            <a:prstGeom prst="star5">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3" name="Star: 5 Points 22">
              <a:extLst>
                <a:ext uri="{FF2B5EF4-FFF2-40B4-BE49-F238E27FC236}">
                  <a16:creationId xmlns:a16="http://schemas.microsoft.com/office/drawing/2014/main" id="{30DA6F66-3015-44FF-86DE-509DA0557BEB}"/>
                </a:ext>
              </a:extLst>
            </p:cNvPr>
            <p:cNvSpPr/>
            <p:nvPr/>
          </p:nvSpPr>
          <p:spPr>
            <a:xfrm>
              <a:off x="11210591" y="1165115"/>
              <a:ext cx="293686" cy="275183"/>
            </a:xfrm>
            <a:prstGeom prst="star5">
              <a:avLst/>
            </a:prstGeom>
            <a:solidFill>
              <a:srgbClr val="92D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TextBox 23">
              <a:extLst>
                <a:ext uri="{FF2B5EF4-FFF2-40B4-BE49-F238E27FC236}">
                  <a16:creationId xmlns:a16="http://schemas.microsoft.com/office/drawing/2014/main" id="{74557725-F014-4DDB-A0BC-BC3CDC269CA3}"/>
                </a:ext>
              </a:extLst>
            </p:cNvPr>
            <p:cNvSpPr txBox="1"/>
            <p:nvPr/>
          </p:nvSpPr>
          <p:spPr>
            <a:xfrm>
              <a:off x="10307729" y="1433827"/>
              <a:ext cx="1934433" cy="307777"/>
            </a:xfrm>
            <a:prstGeom prst="rect">
              <a:avLst/>
            </a:prstGeom>
            <a:solidFill>
              <a:schemeClr val="bg1">
                <a:lumMod val="9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black"/>
                  </a:solidFill>
                  <a:effectLst/>
                  <a:uLnTx/>
                  <a:uFillTx/>
                  <a:latin typeface="Calibri"/>
                  <a:ea typeface="+mn-ea"/>
                  <a:cs typeface="+mn-cs"/>
                </a:rPr>
                <a:t>Staffable</a:t>
              </a:r>
              <a:r>
                <a:rPr kumimoji="0" lang="en-US" sz="1400" b="1" i="0" u="none" strike="noStrike" kern="1200" cap="none" spc="0" normalizeH="0" baseline="0" noProof="0" dirty="0">
                  <a:ln>
                    <a:noFill/>
                  </a:ln>
                  <a:solidFill>
                    <a:prstClr val="black"/>
                  </a:solidFill>
                  <a:effectLst/>
                  <a:uLnTx/>
                  <a:uFillTx/>
                  <a:latin typeface="Calibri"/>
                  <a:ea typeface="+mn-ea"/>
                  <a:cs typeface="+mn-cs"/>
                </a:rPr>
                <a:t> on AI Projects</a:t>
              </a:r>
            </a:p>
          </p:txBody>
        </p:sp>
        <p:sp>
          <p:nvSpPr>
            <p:cNvPr id="26" name="TextBox 25">
              <a:extLst>
                <a:ext uri="{FF2B5EF4-FFF2-40B4-BE49-F238E27FC236}">
                  <a16:creationId xmlns:a16="http://schemas.microsoft.com/office/drawing/2014/main" id="{B23DFF36-2C33-46BA-ADB3-F08416B308B7}"/>
                </a:ext>
              </a:extLst>
            </p:cNvPr>
            <p:cNvSpPr txBox="1"/>
            <p:nvPr/>
          </p:nvSpPr>
          <p:spPr>
            <a:xfrm>
              <a:off x="1977799" y="1075027"/>
              <a:ext cx="8368198" cy="430887"/>
            </a:xfrm>
            <a:prstGeom prst="rect">
              <a:avLst/>
            </a:prstGeom>
            <a:solidFill>
              <a:schemeClr val="bg1">
                <a:lumMod val="9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UR VISION:</a:t>
              </a: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The Deloitte AI Academy will serve as Deloitte’s engine to bridge the AI talent gap in the mark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day by educating our way to AI talent growth through a focus on supplemental education</a:t>
              </a:r>
            </a:p>
          </p:txBody>
        </p:sp>
        <p:sp>
          <p:nvSpPr>
            <p:cNvPr id="25" name="Arrow: Pentagon 24">
              <a:extLst>
                <a:ext uri="{FF2B5EF4-FFF2-40B4-BE49-F238E27FC236}">
                  <a16:creationId xmlns:a16="http://schemas.microsoft.com/office/drawing/2014/main" id="{ED5DA18F-952A-447C-9A9E-BC7B13E8C9EE}"/>
                </a:ext>
              </a:extLst>
            </p:cNvPr>
            <p:cNvSpPr/>
            <p:nvPr/>
          </p:nvSpPr>
          <p:spPr>
            <a:xfrm>
              <a:off x="1273586" y="1468115"/>
              <a:ext cx="9088033" cy="239200"/>
            </a:xfrm>
            <a:prstGeom prst="homePlat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a:ea typeface="+mn-ea"/>
                  <a:cs typeface="+mn-cs"/>
                </a:rPr>
                <a:t>8 WEEKS: INTENSIVE, EXPERIENTIAL, AND HANDS-ON LEARNING EXPERIENCE</a:t>
              </a:r>
            </a:p>
          </p:txBody>
        </p:sp>
      </p:grpSp>
      <p:grpSp>
        <p:nvGrpSpPr>
          <p:cNvPr id="27" name="Group 26">
            <a:extLst>
              <a:ext uri="{FF2B5EF4-FFF2-40B4-BE49-F238E27FC236}">
                <a16:creationId xmlns:a16="http://schemas.microsoft.com/office/drawing/2014/main" id="{32D21183-DDC2-4733-91FB-DFDD4237BAFB}"/>
              </a:ext>
            </a:extLst>
          </p:cNvPr>
          <p:cNvGrpSpPr/>
          <p:nvPr/>
        </p:nvGrpSpPr>
        <p:grpSpPr>
          <a:xfrm>
            <a:off x="8436206" y="3323579"/>
            <a:ext cx="2428276" cy="1388087"/>
            <a:chOff x="8227872" y="2219609"/>
            <a:chExt cx="3807011" cy="1269195"/>
          </a:xfrm>
          <a:effectLst>
            <a:outerShdw blurRad="50800" dist="38100" dir="2700000" algn="tl" rotWithShape="0">
              <a:prstClr val="black">
                <a:alpha val="40000"/>
              </a:prstClr>
            </a:outerShdw>
          </a:effectLst>
        </p:grpSpPr>
        <p:sp>
          <p:nvSpPr>
            <p:cNvPr id="41" name="Freeform 241">
              <a:extLst>
                <a:ext uri="{FF2B5EF4-FFF2-40B4-BE49-F238E27FC236}">
                  <a16:creationId xmlns:a16="http://schemas.microsoft.com/office/drawing/2014/main" id="{5692673A-DAD3-4DEC-B51D-21F487503466}"/>
                </a:ext>
              </a:extLst>
            </p:cNvPr>
            <p:cNvSpPr>
              <a:spLocks noChangeArrowheads="1"/>
            </p:cNvSpPr>
            <p:nvPr/>
          </p:nvSpPr>
          <p:spPr bwMode="auto">
            <a:xfrm flipH="1">
              <a:off x="10700869" y="2794520"/>
              <a:ext cx="1294457" cy="694284"/>
            </a:xfrm>
            <a:prstGeom prst="cube">
              <a:avLst/>
            </a:prstGeom>
            <a:solidFill>
              <a:srgbClr val="5777BF"/>
            </a:solidFill>
            <a:ln>
              <a:solidFill>
                <a:srgbClr val="002060"/>
              </a:solidFill>
              <a:prstDash val="solid"/>
            </a:ln>
            <a:effectLst/>
          </p:spPr>
          <p:txBody>
            <a:bodyPr wrap="square" tIns="5486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Calibri"/>
                <a:ea typeface="+mn-ea"/>
                <a:cs typeface="+mn-cs"/>
              </a:endParaRPr>
            </a:p>
          </p:txBody>
        </p:sp>
        <p:sp>
          <p:nvSpPr>
            <p:cNvPr id="42" name="Freeform 241">
              <a:extLst>
                <a:ext uri="{FF2B5EF4-FFF2-40B4-BE49-F238E27FC236}">
                  <a16:creationId xmlns:a16="http://schemas.microsoft.com/office/drawing/2014/main" id="{4F8D86A3-B1D8-4605-91D5-B80C3CB81420}"/>
                </a:ext>
              </a:extLst>
            </p:cNvPr>
            <p:cNvSpPr>
              <a:spLocks noChangeArrowheads="1"/>
            </p:cNvSpPr>
            <p:nvPr/>
          </p:nvSpPr>
          <p:spPr bwMode="auto">
            <a:xfrm flipH="1">
              <a:off x="9464371" y="2794520"/>
              <a:ext cx="1294457" cy="694284"/>
            </a:xfrm>
            <a:prstGeom prst="cube">
              <a:avLst/>
            </a:prstGeom>
            <a:solidFill>
              <a:srgbClr val="5777BF"/>
            </a:solidFill>
            <a:ln>
              <a:solidFill>
                <a:srgbClr val="002060"/>
              </a:solidFill>
            </a:ln>
            <a:effectLst/>
          </p:spPr>
          <p:txBody>
            <a:bodyPr wrap="square" tIns="5486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Calibri"/>
                <a:ea typeface="+mn-ea"/>
                <a:cs typeface="+mn-cs"/>
              </a:endParaRPr>
            </a:p>
          </p:txBody>
        </p:sp>
        <p:sp>
          <p:nvSpPr>
            <p:cNvPr id="43" name="Freeform 241">
              <a:extLst>
                <a:ext uri="{FF2B5EF4-FFF2-40B4-BE49-F238E27FC236}">
                  <a16:creationId xmlns:a16="http://schemas.microsoft.com/office/drawing/2014/main" id="{BCD2B06E-C039-49FF-BCD1-DA638D81F6B4}"/>
                </a:ext>
              </a:extLst>
            </p:cNvPr>
            <p:cNvSpPr>
              <a:spLocks noChangeArrowheads="1"/>
            </p:cNvSpPr>
            <p:nvPr/>
          </p:nvSpPr>
          <p:spPr bwMode="auto">
            <a:xfrm flipH="1">
              <a:off x="8227872" y="2794520"/>
              <a:ext cx="1294457" cy="694284"/>
            </a:xfrm>
            <a:prstGeom prst="cube">
              <a:avLst/>
            </a:prstGeom>
            <a:solidFill>
              <a:srgbClr val="5777BF"/>
            </a:solidFill>
            <a:ln>
              <a:solidFill>
                <a:srgbClr val="002060"/>
              </a:solidFill>
            </a:ln>
            <a:effectLst/>
          </p:spPr>
          <p:txBody>
            <a:bodyPr wrap="square" tIns="5486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Calibri"/>
                <a:ea typeface="+mn-ea"/>
                <a:cs typeface="+mn-cs"/>
              </a:endParaRPr>
            </a:p>
          </p:txBody>
        </p:sp>
        <p:sp>
          <p:nvSpPr>
            <p:cNvPr id="44" name="TextBox 43">
              <a:extLst>
                <a:ext uri="{FF2B5EF4-FFF2-40B4-BE49-F238E27FC236}">
                  <a16:creationId xmlns:a16="http://schemas.microsoft.com/office/drawing/2014/main" id="{C211A20F-862B-493A-AC14-F8F59EB832B8}"/>
                </a:ext>
              </a:extLst>
            </p:cNvPr>
            <p:cNvSpPr txBox="1"/>
            <p:nvPr/>
          </p:nvSpPr>
          <p:spPr>
            <a:xfrm>
              <a:off x="8610960" y="3008874"/>
              <a:ext cx="821533" cy="42212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alibri"/>
                  <a:ea typeface="+mn-ea"/>
                  <a:cs typeface="+mn-cs"/>
                </a:rPr>
                <a:t>Applied AI in FSS/OP</a:t>
              </a:r>
            </a:p>
          </p:txBody>
        </p:sp>
        <p:sp>
          <p:nvSpPr>
            <p:cNvPr id="45" name="TextBox 44">
              <a:extLst>
                <a:ext uri="{FF2B5EF4-FFF2-40B4-BE49-F238E27FC236}">
                  <a16:creationId xmlns:a16="http://schemas.microsoft.com/office/drawing/2014/main" id="{67471B31-37C7-4D53-B035-FA66657E99DC}"/>
                </a:ext>
              </a:extLst>
            </p:cNvPr>
            <p:cNvSpPr txBox="1"/>
            <p:nvPr/>
          </p:nvSpPr>
          <p:spPr>
            <a:xfrm>
              <a:off x="9823513" y="3008874"/>
              <a:ext cx="869237" cy="42212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alibri"/>
                  <a:ea typeface="+mn-ea"/>
                  <a:cs typeface="+mn-cs"/>
                </a:rPr>
                <a:t>Applied AI in Industry</a:t>
              </a:r>
            </a:p>
          </p:txBody>
        </p:sp>
        <p:sp>
          <p:nvSpPr>
            <p:cNvPr id="46" name="TextBox 45">
              <a:extLst>
                <a:ext uri="{FF2B5EF4-FFF2-40B4-BE49-F238E27FC236}">
                  <a16:creationId xmlns:a16="http://schemas.microsoft.com/office/drawing/2014/main" id="{6AA11FBA-5F8E-4E23-8317-D09F8E91BAE1}"/>
                </a:ext>
              </a:extLst>
            </p:cNvPr>
            <p:cNvSpPr txBox="1"/>
            <p:nvPr/>
          </p:nvSpPr>
          <p:spPr>
            <a:xfrm>
              <a:off x="10941155" y="3065157"/>
              <a:ext cx="1093728" cy="30955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alibri"/>
                  <a:ea typeface="+mn-ea"/>
                  <a:cs typeface="+mn-cs"/>
                </a:rPr>
                <a:t>Profession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alibri"/>
                  <a:ea typeface="+mn-ea"/>
                  <a:cs typeface="+mn-cs"/>
                </a:rPr>
                <a:t>Skills</a:t>
              </a:r>
            </a:p>
          </p:txBody>
        </p:sp>
        <p:sp>
          <p:nvSpPr>
            <p:cNvPr id="47" name="Freeform 241">
              <a:extLst>
                <a:ext uri="{FF2B5EF4-FFF2-40B4-BE49-F238E27FC236}">
                  <a16:creationId xmlns:a16="http://schemas.microsoft.com/office/drawing/2014/main" id="{9553CDC5-9DA3-4421-84DE-7A0352275A11}"/>
                </a:ext>
              </a:extLst>
            </p:cNvPr>
            <p:cNvSpPr>
              <a:spLocks noChangeArrowheads="1"/>
            </p:cNvSpPr>
            <p:nvPr/>
          </p:nvSpPr>
          <p:spPr bwMode="auto">
            <a:xfrm flipH="1">
              <a:off x="10682344" y="2222087"/>
              <a:ext cx="1294457" cy="694284"/>
            </a:xfrm>
            <a:prstGeom prst="cube">
              <a:avLst/>
            </a:prstGeom>
            <a:solidFill>
              <a:srgbClr val="5777BF"/>
            </a:solidFill>
            <a:ln>
              <a:solidFill>
                <a:srgbClr val="002060"/>
              </a:solidFill>
              <a:prstDash val="solid"/>
            </a:ln>
            <a:effectLst/>
          </p:spPr>
          <p:txBody>
            <a:bodyPr wrap="square" tIns="5486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Calibri"/>
                <a:ea typeface="+mn-ea"/>
                <a:cs typeface="+mn-cs"/>
              </a:endParaRPr>
            </a:p>
          </p:txBody>
        </p:sp>
        <p:sp>
          <p:nvSpPr>
            <p:cNvPr id="48" name="TextBox 47">
              <a:extLst>
                <a:ext uri="{FF2B5EF4-FFF2-40B4-BE49-F238E27FC236}">
                  <a16:creationId xmlns:a16="http://schemas.microsoft.com/office/drawing/2014/main" id="{05A844F3-3157-47CA-9454-DEAA5B4D46B4}"/>
                </a:ext>
              </a:extLst>
            </p:cNvPr>
            <p:cNvSpPr txBox="1"/>
            <p:nvPr/>
          </p:nvSpPr>
          <p:spPr>
            <a:xfrm>
              <a:off x="10942408" y="2495045"/>
              <a:ext cx="1091215" cy="30955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alibri"/>
                  <a:ea typeface="+mn-ea"/>
                  <a:cs typeface="+mn-cs"/>
                </a:rPr>
                <a:t>Trustworth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alibri"/>
                  <a:ea typeface="+mn-ea"/>
                  <a:cs typeface="+mn-cs"/>
                </a:rPr>
                <a:t>AI</a:t>
              </a:r>
              <a:r>
                <a:rPr kumimoji="0" lang="en-US" sz="800" b="0" i="0" u="none" strike="noStrike" kern="1200" cap="none" spc="0" normalizeH="0" baseline="30000" noProof="0" dirty="0">
                  <a:ln>
                    <a:noFill/>
                  </a:ln>
                  <a:solidFill>
                    <a:prstClr val="white"/>
                  </a:solidFill>
                  <a:effectLst/>
                  <a:uLnTx/>
                  <a:uFillTx/>
                  <a:latin typeface="Calibri"/>
                  <a:ea typeface="+mn-ea"/>
                  <a:cs typeface="+mn-cs"/>
                </a:rPr>
                <a:t>TM</a:t>
              </a:r>
              <a:endParaRPr kumimoji="0" lang="en-US" sz="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241">
              <a:extLst>
                <a:ext uri="{FF2B5EF4-FFF2-40B4-BE49-F238E27FC236}">
                  <a16:creationId xmlns:a16="http://schemas.microsoft.com/office/drawing/2014/main" id="{441B90BD-44D8-4CDA-91FD-B97408B711A1}"/>
                </a:ext>
              </a:extLst>
            </p:cNvPr>
            <p:cNvSpPr>
              <a:spLocks noChangeArrowheads="1"/>
            </p:cNvSpPr>
            <p:nvPr/>
          </p:nvSpPr>
          <p:spPr bwMode="auto">
            <a:xfrm flipH="1">
              <a:off x="9457856" y="2219609"/>
              <a:ext cx="1294457" cy="694284"/>
            </a:xfrm>
            <a:prstGeom prst="cube">
              <a:avLst/>
            </a:prstGeom>
            <a:solidFill>
              <a:srgbClr val="5777BF"/>
            </a:solidFill>
            <a:ln>
              <a:solidFill>
                <a:srgbClr val="002060"/>
              </a:solidFill>
              <a:prstDash val="solid"/>
            </a:ln>
            <a:effectLst/>
          </p:spPr>
          <p:txBody>
            <a:bodyPr wrap="square" tIns="5486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00000"/>
                </a:solidFill>
                <a:effectLst/>
                <a:uLnTx/>
                <a:uFillTx/>
                <a:latin typeface="Calibri"/>
                <a:ea typeface="+mn-ea"/>
                <a:cs typeface="+mn-cs"/>
              </a:endParaRPr>
            </a:p>
          </p:txBody>
        </p:sp>
        <p:sp>
          <p:nvSpPr>
            <p:cNvPr id="50" name="TextBox 49">
              <a:extLst>
                <a:ext uri="{FF2B5EF4-FFF2-40B4-BE49-F238E27FC236}">
                  <a16:creationId xmlns:a16="http://schemas.microsoft.com/office/drawing/2014/main" id="{9389C6C3-678F-48BE-9161-006C498C71A1}"/>
                </a:ext>
              </a:extLst>
            </p:cNvPr>
            <p:cNvSpPr txBox="1"/>
            <p:nvPr/>
          </p:nvSpPr>
          <p:spPr>
            <a:xfrm>
              <a:off x="9732631" y="2495045"/>
              <a:ext cx="1051001" cy="30955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alibri"/>
                  <a:ea typeface="+mn-ea"/>
                  <a:cs typeface="+mn-cs"/>
                </a:rPr>
                <a:t>Artifici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alibri"/>
                  <a:ea typeface="+mn-ea"/>
                  <a:cs typeface="+mn-cs"/>
                </a:rPr>
                <a:t>Intelligence</a:t>
              </a:r>
            </a:p>
          </p:txBody>
        </p:sp>
        <p:sp>
          <p:nvSpPr>
            <p:cNvPr id="51" name="Freeform 241">
              <a:extLst>
                <a:ext uri="{FF2B5EF4-FFF2-40B4-BE49-F238E27FC236}">
                  <a16:creationId xmlns:a16="http://schemas.microsoft.com/office/drawing/2014/main" id="{8AEA28E7-1190-4CB5-AA93-9575889BFE89}"/>
                </a:ext>
              </a:extLst>
            </p:cNvPr>
            <p:cNvSpPr>
              <a:spLocks noChangeArrowheads="1"/>
            </p:cNvSpPr>
            <p:nvPr/>
          </p:nvSpPr>
          <p:spPr bwMode="auto">
            <a:xfrm flipH="1">
              <a:off x="8227872" y="2225304"/>
              <a:ext cx="1294457" cy="694284"/>
            </a:xfrm>
            <a:prstGeom prst="cube">
              <a:avLst/>
            </a:prstGeom>
            <a:solidFill>
              <a:srgbClr val="5777BF"/>
            </a:solidFill>
            <a:ln>
              <a:solidFill>
                <a:srgbClr val="002060"/>
              </a:solidFill>
              <a:prstDash val="solid"/>
            </a:ln>
            <a:effectLst/>
          </p:spPr>
          <p:txBody>
            <a:bodyPr wrap="square" tIns="5486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Calibri"/>
                <a:ea typeface="+mn-ea"/>
                <a:cs typeface="+mn-cs"/>
              </a:endParaRPr>
            </a:p>
          </p:txBody>
        </p:sp>
        <p:sp>
          <p:nvSpPr>
            <p:cNvPr id="52" name="TextBox 51">
              <a:extLst>
                <a:ext uri="{FF2B5EF4-FFF2-40B4-BE49-F238E27FC236}">
                  <a16:creationId xmlns:a16="http://schemas.microsoft.com/office/drawing/2014/main" id="{FCF6F840-6C2C-4C59-8E74-8BC06F15908F}"/>
                </a:ext>
              </a:extLst>
            </p:cNvPr>
            <p:cNvSpPr txBox="1"/>
            <p:nvPr/>
          </p:nvSpPr>
          <p:spPr>
            <a:xfrm>
              <a:off x="8410776" y="2495045"/>
              <a:ext cx="1221898" cy="30955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alibri"/>
                  <a:ea typeface="+mn-ea"/>
                  <a:cs typeface="+mn-cs"/>
                </a:rPr>
                <a:t>Core 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alibri"/>
                  <a:ea typeface="+mn-ea"/>
                  <a:cs typeface="+mn-cs"/>
                </a:rPr>
                <a:t>Fundamentals</a:t>
              </a:r>
            </a:p>
          </p:txBody>
        </p:sp>
      </p:grpSp>
      <p:sp>
        <p:nvSpPr>
          <p:cNvPr id="53" name="TextBox 52">
            <a:extLst>
              <a:ext uri="{FF2B5EF4-FFF2-40B4-BE49-F238E27FC236}">
                <a16:creationId xmlns:a16="http://schemas.microsoft.com/office/drawing/2014/main" id="{75EFA3C3-54DE-4A47-88F4-072506F40D86}"/>
              </a:ext>
            </a:extLst>
          </p:cNvPr>
          <p:cNvSpPr txBox="1"/>
          <p:nvPr/>
        </p:nvSpPr>
        <p:spPr>
          <a:xfrm>
            <a:off x="7856021" y="1901631"/>
            <a:ext cx="4187701" cy="8309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800" b="0" i="0" u="none" strike="noStrike" kern="1200" cap="all"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 </a:t>
            </a:r>
            <a:r>
              <a:rPr kumimoji="0" lang="en-US" sz="1800" b="1" i="0" u="none" strike="noStrike" kern="1200" cap="all" spc="0" normalizeH="0" baseline="0" noProof="0" dirty="0">
                <a:ln>
                  <a:noFill/>
                </a:ln>
                <a:solidFill>
                  <a:srgbClr val="00B0F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carefully curated curriculum </a:t>
            </a:r>
            <a:r>
              <a:rPr kumimoji="0" lang="en-US" sz="1800" b="0" i="0" u="none" strike="noStrike" kern="1200" cap="all"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ocused on bridging technical skills with applied ai</a:t>
            </a:r>
          </a:p>
        </p:txBody>
      </p:sp>
      <p:sp>
        <p:nvSpPr>
          <p:cNvPr id="56" name="TextBox 55">
            <a:extLst>
              <a:ext uri="{FF2B5EF4-FFF2-40B4-BE49-F238E27FC236}">
                <a16:creationId xmlns:a16="http://schemas.microsoft.com/office/drawing/2014/main" id="{5D9A3F2A-4146-4BB9-9B6D-F17E0A0A54BC}"/>
              </a:ext>
            </a:extLst>
          </p:cNvPr>
          <p:cNvSpPr txBox="1"/>
          <p:nvPr/>
        </p:nvSpPr>
        <p:spPr>
          <a:xfrm>
            <a:off x="8590037" y="5079429"/>
            <a:ext cx="3274365"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800" b="0" i="0" u="none" strike="noStrike" kern="1200" cap="all"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livery BY a </a:t>
            </a:r>
            <a:r>
              <a:rPr kumimoji="0" lang="en-US" sz="1800" b="1" i="0" u="none" strike="noStrike" kern="1200" cap="all" spc="0" normalizeH="0" baseline="0" noProof="0" dirty="0">
                <a:ln>
                  <a:noFill/>
                </a:ln>
                <a:solidFill>
                  <a:srgbClr val="00B0F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world-class education ecosystem</a:t>
            </a:r>
          </a:p>
        </p:txBody>
      </p:sp>
      <p:sp>
        <p:nvSpPr>
          <p:cNvPr id="59" name="TextBox 58">
            <a:extLst>
              <a:ext uri="{FF2B5EF4-FFF2-40B4-BE49-F238E27FC236}">
                <a16:creationId xmlns:a16="http://schemas.microsoft.com/office/drawing/2014/main" id="{88460B73-78EB-4111-A835-29AE17B3F4FE}"/>
              </a:ext>
            </a:extLst>
          </p:cNvPr>
          <p:cNvSpPr txBox="1"/>
          <p:nvPr/>
        </p:nvSpPr>
        <p:spPr>
          <a:xfrm>
            <a:off x="415042" y="4647983"/>
            <a:ext cx="3817147" cy="276999"/>
          </a:xfrm>
          <a:prstGeom prst="rect">
            <a:avLst/>
          </a:prstGeom>
          <a:noFill/>
        </p:spPr>
        <p:txBody>
          <a:bodyPr wrap="square" lIns="0" tIns="0" rIns="0" bIns="0" rtlCol="0">
            <a:spAutoFit/>
          </a:bodyPr>
          <a:lstStyle>
            <a:defPPr>
              <a:defRPr lang="en-US"/>
            </a:defPPr>
            <a:lvl1pPr>
              <a:spcBef>
                <a:spcPts val="600"/>
              </a:spcBef>
              <a:buSzPct val="100000"/>
              <a:defRPr cap="all">
                <a:solidFill>
                  <a:srgbClr val="31313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800" b="1" i="0" u="none" strike="noStrike" kern="1200" cap="all" spc="0" normalizeH="0" baseline="0" noProof="0" dirty="0">
                <a:ln>
                  <a:noFill/>
                </a:ln>
                <a:solidFill>
                  <a:srgbClr val="92D05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A unique talent experience…</a:t>
            </a:r>
          </a:p>
        </p:txBody>
      </p:sp>
      <p:pic>
        <p:nvPicPr>
          <p:cNvPr id="3078" name="Picture 6">
            <a:extLst>
              <a:ext uri="{FF2B5EF4-FFF2-40B4-BE49-F238E27FC236}">
                <a16:creationId xmlns:a16="http://schemas.microsoft.com/office/drawing/2014/main" id="{8C389B42-B772-4679-AE6E-8C3E6560DC0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43577" y="5634036"/>
            <a:ext cx="865831" cy="688450"/>
          </a:xfrm>
          <a:prstGeom prst="rect">
            <a:avLst/>
          </a:prstGeom>
          <a:noFill/>
          <a:extLst>
            <a:ext uri="{909E8E84-426E-40DD-AFC4-6F175D3DCCD1}">
              <a14:hiddenFill xmlns:a14="http://schemas.microsoft.com/office/drawing/2010/main">
                <a:solidFill>
                  <a:srgbClr val="FFFFFF"/>
                </a:solidFill>
              </a14:hiddenFill>
            </a:ext>
          </a:extLst>
        </p:spPr>
      </p:pic>
      <p:grpSp>
        <p:nvGrpSpPr>
          <p:cNvPr id="61" name="Graphic 4">
            <a:extLst>
              <a:ext uri="{FF2B5EF4-FFF2-40B4-BE49-F238E27FC236}">
                <a16:creationId xmlns:a16="http://schemas.microsoft.com/office/drawing/2014/main" id="{87664B45-9465-451F-B5E6-CC3495E51AEA}"/>
              </a:ext>
            </a:extLst>
          </p:cNvPr>
          <p:cNvGrpSpPr>
            <a:grpSpLocks noChangeAspect="1"/>
          </p:cNvGrpSpPr>
          <p:nvPr/>
        </p:nvGrpSpPr>
        <p:grpSpPr>
          <a:xfrm>
            <a:off x="408600" y="4990705"/>
            <a:ext cx="362309" cy="361971"/>
            <a:chOff x="5099169" y="4308712"/>
            <a:chExt cx="362309" cy="361971"/>
          </a:xfrm>
          <a:solidFill>
            <a:schemeClr val="accent6"/>
          </a:solidFill>
        </p:grpSpPr>
        <p:sp>
          <p:nvSpPr>
            <p:cNvPr id="62" name="Graphic 4">
              <a:extLst>
                <a:ext uri="{FF2B5EF4-FFF2-40B4-BE49-F238E27FC236}">
                  <a16:creationId xmlns:a16="http://schemas.microsoft.com/office/drawing/2014/main" id="{1062424F-5E4E-4744-97CE-CD79C493F908}"/>
                </a:ext>
              </a:extLst>
            </p:cNvPr>
            <p:cNvSpPr/>
            <p:nvPr/>
          </p:nvSpPr>
          <p:spPr>
            <a:xfrm>
              <a:off x="5253167" y="4459374"/>
              <a:ext cx="28754" cy="39580"/>
            </a:xfrm>
            <a:custGeom>
              <a:avLst/>
              <a:gdLst>
                <a:gd name="connsiteX0" fmla="*/ 0 w 28754"/>
                <a:gd name="connsiteY0" fmla="*/ 0 h 39580"/>
                <a:gd name="connsiteX1" fmla="*/ 28755 w 28754"/>
                <a:gd name="connsiteY1" fmla="*/ 0 h 39580"/>
                <a:gd name="connsiteX2" fmla="*/ 28755 w 28754"/>
                <a:gd name="connsiteY2" fmla="*/ 39581 h 39580"/>
                <a:gd name="connsiteX3" fmla="*/ 0 w 28754"/>
                <a:gd name="connsiteY3" fmla="*/ 39581 h 39580"/>
              </a:gdLst>
              <a:ahLst/>
              <a:cxnLst>
                <a:cxn ang="0">
                  <a:pos x="connsiteX0" y="connsiteY0"/>
                </a:cxn>
                <a:cxn ang="0">
                  <a:pos x="connsiteX1" y="connsiteY1"/>
                </a:cxn>
                <a:cxn ang="0">
                  <a:pos x="connsiteX2" y="connsiteY2"/>
                </a:cxn>
                <a:cxn ang="0">
                  <a:pos x="connsiteX3" y="connsiteY3"/>
                </a:cxn>
              </a:cxnLst>
              <a:rect l="l" t="t" r="r" b="b"/>
              <a:pathLst>
                <a:path w="28754" h="39580">
                  <a:moveTo>
                    <a:pt x="0" y="0"/>
                  </a:moveTo>
                  <a:lnTo>
                    <a:pt x="28755" y="0"/>
                  </a:lnTo>
                  <a:lnTo>
                    <a:pt x="28755" y="39581"/>
                  </a:lnTo>
                  <a:lnTo>
                    <a:pt x="0" y="39581"/>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3" name="Graphic 4">
              <a:extLst>
                <a:ext uri="{FF2B5EF4-FFF2-40B4-BE49-F238E27FC236}">
                  <a16:creationId xmlns:a16="http://schemas.microsoft.com/office/drawing/2014/main" id="{8520D0F5-83B3-4C8E-8531-97E2246BF75D}"/>
                </a:ext>
              </a:extLst>
            </p:cNvPr>
            <p:cNvSpPr/>
            <p:nvPr/>
          </p:nvSpPr>
          <p:spPr>
            <a:xfrm>
              <a:off x="5186115" y="4395576"/>
              <a:ext cx="162859" cy="160834"/>
            </a:xfrm>
            <a:custGeom>
              <a:avLst/>
              <a:gdLst>
                <a:gd name="connsiteX0" fmla="*/ 65135 w 162859"/>
                <a:gd name="connsiteY0" fmla="*/ 116785 h 160834"/>
                <a:gd name="connsiteX1" fmla="*/ 60662 w 162859"/>
                <a:gd name="connsiteY1" fmla="*/ 116785 h 160834"/>
                <a:gd name="connsiteX2" fmla="*/ 54272 w 162859"/>
                <a:gd name="connsiteY2" fmla="*/ 110401 h 160834"/>
                <a:gd name="connsiteX3" fmla="*/ 54272 w 162859"/>
                <a:gd name="connsiteY3" fmla="*/ 57414 h 160834"/>
                <a:gd name="connsiteX4" fmla="*/ 60662 w 162859"/>
                <a:gd name="connsiteY4" fmla="*/ 51030 h 160834"/>
                <a:gd name="connsiteX5" fmla="*/ 102836 w 162859"/>
                <a:gd name="connsiteY5" fmla="*/ 51030 h 160834"/>
                <a:gd name="connsiteX6" fmla="*/ 109226 w 162859"/>
                <a:gd name="connsiteY6" fmla="*/ 57414 h 160834"/>
                <a:gd name="connsiteX7" fmla="*/ 109226 w 162859"/>
                <a:gd name="connsiteY7" fmla="*/ 110401 h 160834"/>
                <a:gd name="connsiteX8" fmla="*/ 102836 w 162859"/>
                <a:gd name="connsiteY8" fmla="*/ 116785 h 160834"/>
                <a:gd name="connsiteX9" fmla="*/ 98363 w 162859"/>
                <a:gd name="connsiteY9" fmla="*/ 116785 h 160834"/>
                <a:gd name="connsiteX10" fmla="*/ 98363 w 162859"/>
                <a:gd name="connsiteY10" fmla="*/ 160834 h 160834"/>
                <a:gd name="connsiteX11" fmla="*/ 160984 w 162859"/>
                <a:gd name="connsiteY11" fmla="*/ 64436 h 160834"/>
                <a:gd name="connsiteX12" fmla="*/ 64496 w 162859"/>
                <a:gd name="connsiteY12" fmla="*/ 1873 h 160834"/>
                <a:gd name="connsiteX13" fmla="*/ 1875 w 162859"/>
                <a:gd name="connsiteY13" fmla="*/ 98271 h 160834"/>
                <a:gd name="connsiteX14" fmla="*/ 64496 w 162859"/>
                <a:gd name="connsiteY14" fmla="*/ 160834 h 160834"/>
                <a:gd name="connsiteX15" fmla="*/ 65135 w 162859"/>
                <a:gd name="connsiteY15" fmla="*/ 116785 h 160834"/>
                <a:gd name="connsiteX16" fmla="*/ 81749 w 162859"/>
                <a:gd name="connsiteY16" fmla="*/ 10172 h 160834"/>
                <a:gd name="connsiteX17" fmla="*/ 98363 w 162859"/>
                <a:gd name="connsiteY17" fmla="*/ 26770 h 160834"/>
                <a:gd name="connsiteX18" fmla="*/ 81749 w 162859"/>
                <a:gd name="connsiteY18" fmla="*/ 43369 h 160834"/>
                <a:gd name="connsiteX19" fmla="*/ 65135 w 162859"/>
                <a:gd name="connsiteY19" fmla="*/ 26770 h 160834"/>
                <a:gd name="connsiteX20" fmla="*/ 65135 w 162859"/>
                <a:gd name="connsiteY20" fmla="*/ 26770 h 160834"/>
                <a:gd name="connsiteX21" fmla="*/ 81749 w 162859"/>
                <a:gd name="connsiteY21" fmla="*/ 10172 h 160834"/>
                <a:gd name="connsiteX22" fmla="*/ 81749 w 162859"/>
                <a:gd name="connsiteY22" fmla="*/ 10172 h 160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2859" h="160834">
                  <a:moveTo>
                    <a:pt x="65135" y="116785"/>
                  </a:moveTo>
                  <a:lnTo>
                    <a:pt x="60662" y="116785"/>
                  </a:lnTo>
                  <a:cubicBezTo>
                    <a:pt x="56828" y="116785"/>
                    <a:pt x="54272" y="114231"/>
                    <a:pt x="54272" y="110401"/>
                  </a:cubicBezTo>
                  <a:lnTo>
                    <a:pt x="54272" y="57414"/>
                  </a:lnTo>
                  <a:cubicBezTo>
                    <a:pt x="54272" y="53583"/>
                    <a:pt x="56828" y="51030"/>
                    <a:pt x="60662" y="51030"/>
                  </a:cubicBezTo>
                  <a:lnTo>
                    <a:pt x="102836" y="51030"/>
                  </a:lnTo>
                  <a:cubicBezTo>
                    <a:pt x="106670" y="51030"/>
                    <a:pt x="109226" y="53583"/>
                    <a:pt x="109226" y="57414"/>
                  </a:cubicBezTo>
                  <a:lnTo>
                    <a:pt x="109226" y="110401"/>
                  </a:lnTo>
                  <a:cubicBezTo>
                    <a:pt x="109226" y="114231"/>
                    <a:pt x="106670" y="116785"/>
                    <a:pt x="102836" y="116785"/>
                  </a:cubicBezTo>
                  <a:lnTo>
                    <a:pt x="98363" y="116785"/>
                  </a:lnTo>
                  <a:lnTo>
                    <a:pt x="98363" y="160834"/>
                  </a:lnTo>
                  <a:cubicBezTo>
                    <a:pt x="142454" y="151258"/>
                    <a:pt x="170569" y="108486"/>
                    <a:pt x="160984" y="64436"/>
                  </a:cubicBezTo>
                  <a:cubicBezTo>
                    <a:pt x="151399" y="20386"/>
                    <a:pt x="108587" y="-7703"/>
                    <a:pt x="64496" y="1873"/>
                  </a:cubicBezTo>
                  <a:cubicBezTo>
                    <a:pt x="20406" y="11449"/>
                    <a:pt x="-7710" y="54222"/>
                    <a:pt x="1875" y="98271"/>
                  </a:cubicBezTo>
                  <a:cubicBezTo>
                    <a:pt x="8265" y="129553"/>
                    <a:pt x="33185" y="154450"/>
                    <a:pt x="64496" y="160834"/>
                  </a:cubicBezTo>
                  <a:lnTo>
                    <a:pt x="65135" y="116785"/>
                  </a:lnTo>
                  <a:close/>
                  <a:moveTo>
                    <a:pt x="81749" y="10172"/>
                  </a:moveTo>
                  <a:cubicBezTo>
                    <a:pt x="90695" y="10172"/>
                    <a:pt x="98363" y="17833"/>
                    <a:pt x="98363" y="26770"/>
                  </a:cubicBezTo>
                  <a:cubicBezTo>
                    <a:pt x="98363" y="35708"/>
                    <a:pt x="90695" y="43369"/>
                    <a:pt x="81749" y="43369"/>
                  </a:cubicBezTo>
                  <a:cubicBezTo>
                    <a:pt x="72803" y="43369"/>
                    <a:pt x="65135" y="35708"/>
                    <a:pt x="65135" y="26770"/>
                  </a:cubicBezTo>
                  <a:cubicBezTo>
                    <a:pt x="65135" y="26770"/>
                    <a:pt x="65135" y="26770"/>
                    <a:pt x="65135" y="26770"/>
                  </a:cubicBezTo>
                  <a:cubicBezTo>
                    <a:pt x="65135" y="17833"/>
                    <a:pt x="72803" y="10172"/>
                    <a:pt x="81749" y="10172"/>
                  </a:cubicBezTo>
                  <a:lnTo>
                    <a:pt x="81749" y="1017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4" name="Graphic 4">
              <a:extLst>
                <a:ext uri="{FF2B5EF4-FFF2-40B4-BE49-F238E27FC236}">
                  <a16:creationId xmlns:a16="http://schemas.microsoft.com/office/drawing/2014/main" id="{E19E5028-245B-46A6-80ED-984044FEEDF1}"/>
                </a:ext>
              </a:extLst>
            </p:cNvPr>
            <p:cNvSpPr/>
            <p:nvPr/>
          </p:nvSpPr>
          <p:spPr>
            <a:xfrm>
              <a:off x="5264030" y="4418516"/>
              <a:ext cx="7668" cy="7660"/>
            </a:xfrm>
            <a:custGeom>
              <a:avLst/>
              <a:gdLst>
                <a:gd name="connsiteX0" fmla="*/ 3834 w 7668"/>
                <a:gd name="connsiteY0" fmla="*/ 7661 h 7660"/>
                <a:gd name="connsiteX1" fmla="*/ 7668 w 7668"/>
                <a:gd name="connsiteY1" fmla="*/ 3830 h 7660"/>
                <a:gd name="connsiteX2" fmla="*/ 3834 w 7668"/>
                <a:gd name="connsiteY2" fmla="*/ 0 h 7660"/>
                <a:gd name="connsiteX3" fmla="*/ 0 w 7668"/>
                <a:gd name="connsiteY3" fmla="*/ 3830 h 7660"/>
                <a:gd name="connsiteX4" fmla="*/ 3834 w 7668"/>
                <a:gd name="connsiteY4" fmla="*/ 7661 h 7660"/>
                <a:gd name="connsiteX5" fmla="*/ 3834 w 7668"/>
                <a:gd name="connsiteY5" fmla="*/ 7661 h 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68" h="7660">
                  <a:moveTo>
                    <a:pt x="3834" y="7661"/>
                  </a:moveTo>
                  <a:cubicBezTo>
                    <a:pt x="5751" y="7661"/>
                    <a:pt x="7668" y="5746"/>
                    <a:pt x="7668" y="3830"/>
                  </a:cubicBezTo>
                  <a:cubicBezTo>
                    <a:pt x="7668" y="1915"/>
                    <a:pt x="5751" y="0"/>
                    <a:pt x="3834" y="0"/>
                  </a:cubicBezTo>
                  <a:cubicBezTo>
                    <a:pt x="1917" y="0"/>
                    <a:pt x="0" y="1915"/>
                    <a:pt x="0" y="3830"/>
                  </a:cubicBezTo>
                  <a:cubicBezTo>
                    <a:pt x="0" y="6384"/>
                    <a:pt x="1917" y="7661"/>
                    <a:pt x="3834" y="7661"/>
                  </a:cubicBezTo>
                  <a:cubicBezTo>
                    <a:pt x="3834" y="7661"/>
                    <a:pt x="3834" y="7661"/>
                    <a:pt x="3834" y="766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5" name="Graphic 4">
              <a:extLst>
                <a:ext uri="{FF2B5EF4-FFF2-40B4-BE49-F238E27FC236}">
                  <a16:creationId xmlns:a16="http://schemas.microsoft.com/office/drawing/2014/main" id="{97986040-E0CB-4D92-9B1D-E203AFD5B73F}"/>
                </a:ext>
              </a:extLst>
            </p:cNvPr>
            <p:cNvSpPr/>
            <p:nvPr/>
          </p:nvSpPr>
          <p:spPr>
            <a:xfrm>
              <a:off x="5263391" y="4512361"/>
              <a:ext cx="8306" cy="45964"/>
            </a:xfrm>
            <a:custGeom>
              <a:avLst/>
              <a:gdLst>
                <a:gd name="connsiteX0" fmla="*/ 8307 w 8306"/>
                <a:gd name="connsiteY0" fmla="*/ 0 h 45964"/>
                <a:gd name="connsiteX1" fmla="*/ 0 w 8306"/>
                <a:gd name="connsiteY1" fmla="*/ 0 h 45964"/>
                <a:gd name="connsiteX2" fmla="*/ 0 w 8306"/>
                <a:gd name="connsiteY2" fmla="*/ 45965 h 45964"/>
                <a:gd name="connsiteX3" fmla="*/ 3834 w 8306"/>
                <a:gd name="connsiteY3" fmla="*/ 45965 h 45964"/>
                <a:gd name="connsiteX4" fmla="*/ 8307 w 8306"/>
                <a:gd name="connsiteY4" fmla="*/ 45965 h 45964"/>
                <a:gd name="connsiteX5" fmla="*/ 8307 w 8306"/>
                <a:gd name="connsiteY5" fmla="*/ 0 h 4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06" h="45964">
                  <a:moveTo>
                    <a:pt x="8307" y="0"/>
                  </a:moveTo>
                  <a:lnTo>
                    <a:pt x="0" y="0"/>
                  </a:lnTo>
                  <a:lnTo>
                    <a:pt x="0" y="45965"/>
                  </a:lnTo>
                  <a:cubicBezTo>
                    <a:pt x="1278" y="45965"/>
                    <a:pt x="2556" y="45965"/>
                    <a:pt x="3834" y="45965"/>
                  </a:cubicBezTo>
                  <a:cubicBezTo>
                    <a:pt x="5112" y="45965"/>
                    <a:pt x="7029" y="45965"/>
                    <a:pt x="8307" y="45965"/>
                  </a:cubicBezTo>
                  <a:lnTo>
                    <a:pt x="8307" y="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6" name="Graphic 4">
              <a:extLst>
                <a:ext uri="{FF2B5EF4-FFF2-40B4-BE49-F238E27FC236}">
                  <a16:creationId xmlns:a16="http://schemas.microsoft.com/office/drawing/2014/main" id="{20C087C4-2503-42A9-9DA6-7A3CFB29A99B}"/>
                </a:ext>
              </a:extLst>
            </p:cNvPr>
            <p:cNvSpPr/>
            <p:nvPr/>
          </p:nvSpPr>
          <p:spPr>
            <a:xfrm>
              <a:off x="5099169" y="4308712"/>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286269 w 362309"/>
                <a:gd name="connsiteY7" fmla="*/ 286002 h 361971"/>
                <a:gd name="connsiteX8" fmla="*/ 277323 w 362309"/>
                <a:gd name="connsiteY8" fmla="*/ 286002 h 361971"/>
                <a:gd name="connsiteX9" fmla="*/ 230677 w 362309"/>
                <a:gd name="connsiteY9" fmla="*/ 238122 h 361971"/>
                <a:gd name="connsiteX10" fmla="*/ 98405 w 362309"/>
                <a:gd name="connsiteY10" fmla="*/ 229823 h 361971"/>
                <a:gd name="connsiteX11" fmla="*/ 106712 w 362309"/>
                <a:gd name="connsiteY11" fmla="*/ 97675 h 361971"/>
                <a:gd name="connsiteX12" fmla="*/ 238984 w 362309"/>
                <a:gd name="connsiteY12" fmla="*/ 105974 h 361971"/>
                <a:gd name="connsiteX13" fmla="*/ 239623 w 362309"/>
                <a:gd name="connsiteY13" fmla="*/ 228546 h 361971"/>
                <a:gd name="connsiteX14" fmla="*/ 286269 w 362309"/>
                <a:gd name="connsiteY14" fmla="*/ 276426 h 361971"/>
                <a:gd name="connsiteX15" fmla="*/ 286269 w 362309"/>
                <a:gd name="connsiteY15" fmla="*/ 286002 h 361971"/>
                <a:gd name="connsiteX16" fmla="*/ 286269 w 362309"/>
                <a:gd name="connsiteY16" fmla="*/ 286002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10" y="280895"/>
                    <a:pt x="362310" y="181305"/>
                  </a:cubicBezTo>
                  <a:cubicBezTo>
                    <a:pt x="362310" y="181305"/>
                    <a:pt x="362310" y="181305"/>
                    <a:pt x="362310" y="181305"/>
                  </a:cubicBezTo>
                  <a:cubicBezTo>
                    <a:pt x="362310" y="81077"/>
                    <a:pt x="281157" y="0"/>
                    <a:pt x="181474" y="0"/>
                  </a:cubicBezTo>
                  <a:cubicBezTo>
                    <a:pt x="181474" y="0"/>
                    <a:pt x="181474" y="0"/>
                    <a:pt x="181474" y="0"/>
                  </a:cubicBezTo>
                  <a:close/>
                  <a:moveTo>
                    <a:pt x="286269" y="286002"/>
                  </a:moveTo>
                  <a:cubicBezTo>
                    <a:pt x="283713" y="288556"/>
                    <a:pt x="279879" y="288556"/>
                    <a:pt x="277323" y="286002"/>
                  </a:cubicBezTo>
                  <a:lnTo>
                    <a:pt x="230677" y="238122"/>
                  </a:lnTo>
                  <a:cubicBezTo>
                    <a:pt x="191698" y="271958"/>
                    <a:pt x="132911" y="268127"/>
                    <a:pt x="98405" y="229823"/>
                  </a:cubicBezTo>
                  <a:cubicBezTo>
                    <a:pt x="64538" y="190881"/>
                    <a:pt x="68372" y="132149"/>
                    <a:pt x="106712" y="97675"/>
                  </a:cubicBezTo>
                  <a:cubicBezTo>
                    <a:pt x="145690" y="63840"/>
                    <a:pt x="204478" y="67670"/>
                    <a:pt x="238984" y="105974"/>
                  </a:cubicBezTo>
                  <a:cubicBezTo>
                    <a:pt x="269655" y="141086"/>
                    <a:pt x="270294" y="193435"/>
                    <a:pt x="239623" y="228546"/>
                  </a:cubicBezTo>
                  <a:lnTo>
                    <a:pt x="286269" y="276426"/>
                  </a:lnTo>
                  <a:cubicBezTo>
                    <a:pt x="288825" y="279618"/>
                    <a:pt x="288825" y="283449"/>
                    <a:pt x="286269" y="286002"/>
                  </a:cubicBezTo>
                  <a:lnTo>
                    <a:pt x="286269" y="28600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7" name="Graphic 4">
            <a:extLst>
              <a:ext uri="{FF2B5EF4-FFF2-40B4-BE49-F238E27FC236}">
                <a16:creationId xmlns:a16="http://schemas.microsoft.com/office/drawing/2014/main" id="{C65D626D-A9B1-4825-908E-80D743F45F88}"/>
              </a:ext>
            </a:extLst>
          </p:cNvPr>
          <p:cNvGrpSpPr/>
          <p:nvPr/>
        </p:nvGrpSpPr>
        <p:grpSpPr>
          <a:xfrm>
            <a:off x="2235864" y="4991024"/>
            <a:ext cx="361674" cy="361333"/>
            <a:chOff x="10324860" y="918179"/>
            <a:chExt cx="361674" cy="361333"/>
          </a:xfrm>
          <a:solidFill>
            <a:schemeClr val="accent6"/>
          </a:solidFill>
        </p:grpSpPr>
        <p:sp>
          <p:nvSpPr>
            <p:cNvPr id="68" name="Graphic 4">
              <a:extLst>
                <a:ext uri="{FF2B5EF4-FFF2-40B4-BE49-F238E27FC236}">
                  <a16:creationId xmlns:a16="http://schemas.microsoft.com/office/drawing/2014/main" id="{6D8F51F5-00DF-48D9-B8D5-B74DFB7CFB5E}"/>
                </a:ext>
              </a:extLst>
            </p:cNvPr>
            <p:cNvSpPr/>
            <p:nvPr/>
          </p:nvSpPr>
          <p:spPr>
            <a:xfrm>
              <a:off x="10437962" y="1059265"/>
              <a:ext cx="8307" cy="1276"/>
            </a:xfrm>
            <a:custGeom>
              <a:avLst/>
              <a:gdLst>
                <a:gd name="connsiteX0" fmla="*/ 8307 w 8307"/>
                <a:gd name="connsiteY0" fmla="*/ 1277 h 1276"/>
                <a:gd name="connsiteX1" fmla="*/ 8307 w 8307"/>
                <a:gd name="connsiteY1" fmla="*/ 0 h 1276"/>
                <a:gd name="connsiteX2" fmla="*/ 0 w 8307"/>
                <a:gd name="connsiteY2" fmla="*/ 1277 h 1276"/>
                <a:gd name="connsiteX3" fmla="*/ 8307 w 8307"/>
                <a:gd name="connsiteY3" fmla="*/ 1277 h 1276"/>
              </a:gdLst>
              <a:ahLst/>
              <a:cxnLst>
                <a:cxn ang="0">
                  <a:pos x="connsiteX0" y="connsiteY0"/>
                </a:cxn>
                <a:cxn ang="0">
                  <a:pos x="connsiteX1" y="connsiteY1"/>
                </a:cxn>
                <a:cxn ang="0">
                  <a:pos x="connsiteX2" y="connsiteY2"/>
                </a:cxn>
                <a:cxn ang="0">
                  <a:pos x="connsiteX3" y="connsiteY3"/>
                </a:cxn>
              </a:cxnLst>
              <a:rect l="l" t="t" r="r" b="b"/>
              <a:pathLst>
                <a:path w="8307" h="1276">
                  <a:moveTo>
                    <a:pt x="8307" y="1277"/>
                  </a:moveTo>
                  <a:cubicBezTo>
                    <a:pt x="8307" y="638"/>
                    <a:pt x="8307" y="638"/>
                    <a:pt x="8307" y="0"/>
                  </a:cubicBezTo>
                  <a:lnTo>
                    <a:pt x="0" y="1277"/>
                  </a:lnTo>
                  <a:lnTo>
                    <a:pt x="8307" y="1277"/>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9" name="Graphic 4">
              <a:extLst>
                <a:ext uri="{FF2B5EF4-FFF2-40B4-BE49-F238E27FC236}">
                  <a16:creationId xmlns:a16="http://schemas.microsoft.com/office/drawing/2014/main" id="{D66397E7-3F17-4988-89DD-38EB1793B55E}"/>
                </a:ext>
              </a:extLst>
            </p:cNvPr>
            <p:cNvSpPr/>
            <p:nvPr/>
          </p:nvSpPr>
          <p:spPr>
            <a:xfrm>
              <a:off x="10555537" y="1073948"/>
              <a:ext cx="14696" cy="14683"/>
            </a:xfrm>
            <a:custGeom>
              <a:avLst/>
              <a:gdLst>
                <a:gd name="connsiteX0" fmla="*/ 14696 w 14696"/>
                <a:gd name="connsiteY0" fmla="*/ 14683 h 14683"/>
                <a:gd name="connsiteX1" fmla="*/ 14696 w 14696"/>
                <a:gd name="connsiteY1" fmla="*/ 0 h 14683"/>
                <a:gd name="connsiteX2" fmla="*/ 0 w 14696"/>
                <a:gd name="connsiteY2" fmla="*/ 0 h 14683"/>
                <a:gd name="connsiteX3" fmla="*/ 14696 w 14696"/>
                <a:gd name="connsiteY3" fmla="*/ 14683 h 14683"/>
              </a:gdLst>
              <a:ahLst/>
              <a:cxnLst>
                <a:cxn ang="0">
                  <a:pos x="connsiteX0" y="connsiteY0"/>
                </a:cxn>
                <a:cxn ang="0">
                  <a:pos x="connsiteX1" y="connsiteY1"/>
                </a:cxn>
                <a:cxn ang="0">
                  <a:pos x="connsiteX2" y="connsiteY2"/>
                </a:cxn>
                <a:cxn ang="0">
                  <a:pos x="connsiteX3" y="connsiteY3"/>
                </a:cxn>
              </a:cxnLst>
              <a:rect l="l" t="t" r="r" b="b"/>
              <a:pathLst>
                <a:path w="14696" h="14683">
                  <a:moveTo>
                    <a:pt x="14696" y="14683"/>
                  </a:moveTo>
                  <a:lnTo>
                    <a:pt x="14696" y="0"/>
                  </a:lnTo>
                  <a:lnTo>
                    <a:pt x="0" y="0"/>
                  </a:lnTo>
                  <a:cubicBezTo>
                    <a:pt x="1917" y="7022"/>
                    <a:pt x="7668" y="12130"/>
                    <a:pt x="14696" y="14683"/>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0" name="Graphic 4">
              <a:extLst>
                <a:ext uri="{FF2B5EF4-FFF2-40B4-BE49-F238E27FC236}">
                  <a16:creationId xmlns:a16="http://schemas.microsoft.com/office/drawing/2014/main" id="{5422E8CD-4AF2-4C4C-975B-8EF4015D17F0}"/>
                </a:ext>
              </a:extLst>
            </p:cNvPr>
            <p:cNvSpPr/>
            <p:nvPr/>
          </p:nvSpPr>
          <p:spPr>
            <a:xfrm>
              <a:off x="10459049" y="1044582"/>
              <a:ext cx="110545" cy="15959"/>
            </a:xfrm>
            <a:custGeom>
              <a:avLst/>
              <a:gdLst>
                <a:gd name="connsiteX0" fmla="*/ 0 w 110545"/>
                <a:gd name="connsiteY0" fmla="*/ 15960 h 15959"/>
                <a:gd name="connsiteX1" fmla="*/ 110545 w 110545"/>
                <a:gd name="connsiteY1" fmla="*/ 15960 h 15959"/>
                <a:gd name="connsiteX2" fmla="*/ 99683 w 110545"/>
                <a:gd name="connsiteY2" fmla="*/ 0 h 15959"/>
                <a:gd name="connsiteX3" fmla="*/ 0 w 110545"/>
                <a:gd name="connsiteY3" fmla="*/ 12768 h 15959"/>
                <a:gd name="connsiteX4" fmla="*/ 0 w 110545"/>
                <a:gd name="connsiteY4" fmla="*/ 15960 h 15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545" h="15959">
                  <a:moveTo>
                    <a:pt x="0" y="15960"/>
                  </a:moveTo>
                  <a:lnTo>
                    <a:pt x="110545" y="15960"/>
                  </a:lnTo>
                  <a:cubicBezTo>
                    <a:pt x="105434" y="11491"/>
                    <a:pt x="101599" y="6384"/>
                    <a:pt x="99683" y="0"/>
                  </a:cubicBezTo>
                  <a:lnTo>
                    <a:pt x="0" y="12768"/>
                  </a:lnTo>
                  <a:cubicBezTo>
                    <a:pt x="0" y="14045"/>
                    <a:pt x="0" y="15322"/>
                    <a:pt x="0" y="1596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1" name="Graphic 4">
              <a:extLst>
                <a:ext uri="{FF2B5EF4-FFF2-40B4-BE49-F238E27FC236}">
                  <a16:creationId xmlns:a16="http://schemas.microsoft.com/office/drawing/2014/main" id="{55F401A4-BA8F-4599-B570-8E4174CD8B35}"/>
                </a:ext>
              </a:extLst>
            </p:cNvPr>
            <p:cNvSpPr/>
            <p:nvPr/>
          </p:nvSpPr>
          <p:spPr>
            <a:xfrm>
              <a:off x="10572150" y="1041390"/>
              <a:ext cx="16613" cy="14683"/>
            </a:xfrm>
            <a:custGeom>
              <a:avLst/>
              <a:gdLst>
                <a:gd name="connsiteX0" fmla="*/ 6390 w 16613"/>
                <a:gd name="connsiteY0" fmla="*/ 10214 h 14683"/>
                <a:gd name="connsiteX1" fmla="*/ 16614 w 16613"/>
                <a:gd name="connsiteY1" fmla="*/ 14683 h 14683"/>
                <a:gd name="connsiteX2" fmla="*/ 14697 w 16613"/>
                <a:gd name="connsiteY2" fmla="*/ 0 h 14683"/>
                <a:gd name="connsiteX3" fmla="*/ 0 w 16613"/>
                <a:gd name="connsiteY3" fmla="*/ 1915 h 14683"/>
                <a:gd name="connsiteX4" fmla="*/ 6390 w 16613"/>
                <a:gd name="connsiteY4" fmla="*/ 10214 h 14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4683">
                  <a:moveTo>
                    <a:pt x="6390" y="10214"/>
                  </a:moveTo>
                  <a:cubicBezTo>
                    <a:pt x="9585" y="12768"/>
                    <a:pt x="12780" y="14045"/>
                    <a:pt x="16614" y="14683"/>
                  </a:cubicBezTo>
                  <a:lnTo>
                    <a:pt x="14697" y="0"/>
                  </a:lnTo>
                  <a:lnTo>
                    <a:pt x="0" y="1915"/>
                  </a:lnTo>
                  <a:cubicBezTo>
                    <a:pt x="1278" y="5107"/>
                    <a:pt x="3195" y="8299"/>
                    <a:pt x="6390" y="1021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2" name="Graphic 4">
              <a:extLst>
                <a:ext uri="{FF2B5EF4-FFF2-40B4-BE49-F238E27FC236}">
                  <a16:creationId xmlns:a16="http://schemas.microsoft.com/office/drawing/2014/main" id="{9F9CDC8B-9A77-4670-B753-F377103E973A}"/>
                </a:ext>
              </a:extLst>
            </p:cNvPr>
            <p:cNvSpPr/>
            <p:nvPr/>
          </p:nvSpPr>
          <p:spPr>
            <a:xfrm>
              <a:off x="10476301" y="1099484"/>
              <a:ext cx="31949" cy="31919"/>
            </a:xfrm>
            <a:custGeom>
              <a:avLst/>
              <a:gdLst>
                <a:gd name="connsiteX0" fmla="*/ 15975 w 31949"/>
                <a:gd name="connsiteY0" fmla="*/ 0 h 31919"/>
                <a:gd name="connsiteX1" fmla="*/ 0 w 31949"/>
                <a:gd name="connsiteY1" fmla="*/ 15960 h 31919"/>
                <a:gd name="connsiteX2" fmla="*/ 15975 w 31949"/>
                <a:gd name="connsiteY2" fmla="*/ 31920 h 31919"/>
                <a:gd name="connsiteX3" fmla="*/ 31950 w 31949"/>
                <a:gd name="connsiteY3" fmla="*/ 15960 h 31919"/>
                <a:gd name="connsiteX4" fmla="*/ 15975 w 31949"/>
                <a:gd name="connsiteY4" fmla="*/ 0 h 31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49" h="31919">
                  <a:moveTo>
                    <a:pt x="15975" y="0"/>
                  </a:moveTo>
                  <a:cubicBezTo>
                    <a:pt x="7029" y="0"/>
                    <a:pt x="0" y="7022"/>
                    <a:pt x="0" y="15960"/>
                  </a:cubicBezTo>
                  <a:cubicBezTo>
                    <a:pt x="0" y="24897"/>
                    <a:pt x="7029" y="31920"/>
                    <a:pt x="15975" y="31920"/>
                  </a:cubicBezTo>
                  <a:cubicBezTo>
                    <a:pt x="24921" y="31920"/>
                    <a:pt x="31950" y="24897"/>
                    <a:pt x="31950" y="15960"/>
                  </a:cubicBezTo>
                  <a:cubicBezTo>
                    <a:pt x="31950" y="7022"/>
                    <a:pt x="24282" y="0"/>
                    <a:pt x="15975"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3" name="Graphic 4">
              <a:extLst>
                <a:ext uri="{FF2B5EF4-FFF2-40B4-BE49-F238E27FC236}">
                  <a16:creationId xmlns:a16="http://schemas.microsoft.com/office/drawing/2014/main" id="{AEFBFE46-2668-4F91-83E8-B868C22A44BD}"/>
                </a:ext>
              </a:extLst>
            </p:cNvPr>
            <p:cNvSpPr/>
            <p:nvPr/>
          </p:nvSpPr>
          <p:spPr>
            <a:xfrm>
              <a:off x="10413680" y="1073310"/>
              <a:ext cx="156553" cy="83630"/>
            </a:xfrm>
            <a:custGeom>
              <a:avLst/>
              <a:gdLst>
                <a:gd name="connsiteX0" fmla="*/ 156553 w 156553"/>
                <a:gd name="connsiteY0" fmla="*/ 28089 h 83630"/>
                <a:gd name="connsiteX1" fmla="*/ 128438 w 156553"/>
                <a:gd name="connsiteY1" fmla="*/ 0 h 83630"/>
                <a:gd name="connsiteX2" fmla="*/ 28116 w 156553"/>
                <a:gd name="connsiteY2" fmla="*/ 0 h 83630"/>
                <a:gd name="connsiteX3" fmla="*/ 0 w 156553"/>
                <a:gd name="connsiteY3" fmla="*/ 28089 h 83630"/>
                <a:gd name="connsiteX4" fmla="*/ 0 w 156553"/>
                <a:gd name="connsiteY4" fmla="*/ 55541 h 83630"/>
                <a:gd name="connsiteX5" fmla="*/ 28116 w 156553"/>
                <a:gd name="connsiteY5" fmla="*/ 83630 h 83630"/>
                <a:gd name="connsiteX6" fmla="*/ 128438 w 156553"/>
                <a:gd name="connsiteY6" fmla="*/ 83630 h 83630"/>
                <a:gd name="connsiteX7" fmla="*/ 156553 w 156553"/>
                <a:gd name="connsiteY7" fmla="*/ 55541 h 83630"/>
                <a:gd name="connsiteX8" fmla="*/ 156553 w 156553"/>
                <a:gd name="connsiteY8" fmla="*/ 28089 h 83630"/>
                <a:gd name="connsiteX9" fmla="*/ 78597 w 156553"/>
                <a:gd name="connsiteY9" fmla="*/ 70862 h 83630"/>
                <a:gd name="connsiteX10" fmla="*/ 49842 w 156553"/>
                <a:gd name="connsiteY10" fmla="*/ 42134 h 83630"/>
                <a:gd name="connsiteX11" fmla="*/ 78597 w 156553"/>
                <a:gd name="connsiteY11" fmla="*/ 13406 h 83630"/>
                <a:gd name="connsiteX12" fmla="*/ 107351 w 156553"/>
                <a:gd name="connsiteY12" fmla="*/ 42134 h 83630"/>
                <a:gd name="connsiteX13" fmla="*/ 78597 w 156553"/>
                <a:gd name="connsiteY13" fmla="*/ 70862 h 83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6553" h="83630">
                  <a:moveTo>
                    <a:pt x="156553" y="28089"/>
                  </a:moveTo>
                  <a:cubicBezTo>
                    <a:pt x="142496" y="25536"/>
                    <a:pt x="130994" y="14045"/>
                    <a:pt x="128438" y="0"/>
                  </a:cubicBezTo>
                  <a:lnTo>
                    <a:pt x="28116" y="0"/>
                  </a:lnTo>
                  <a:cubicBezTo>
                    <a:pt x="25560" y="14045"/>
                    <a:pt x="14058" y="25536"/>
                    <a:pt x="0" y="28089"/>
                  </a:cubicBezTo>
                  <a:lnTo>
                    <a:pt x="0" y="55541"/>
                  </a:lnTo>
                  <a:cubicBezTo>
                    <a:pt x="14058" y="58094"/>
                    <a:pt x="25560" y="69585"/>
                    <a:pt x="28116" y="83630"/>
                  </a:cubicBezTo>
                  <a:lnTo>
                    <a:pt x="128438" y="83630"/>
                  </a:lnTo>
                  <a:cubicBezTo>
                    <a:pt x="130994" y="69585"/>
                    <a:pt x="142496" y="58094"/>
                    <a:pt x="156553" y="55541"/>
                  </a:cubicBezTo>
                  <a:lnTo>
                    <a:pt x="156553" y="28089"/>
                  </a:lnTo>
                  <a:close/>
                  <a:moveTo>
                    <a:pt x="78597" y="70862"/>
                  </a:moveTo>
                  <a:cubicBezTo>
                    <a:pt x="62622" y="70862"/>
                    <a:pt x="49842" y="58094"/>
                    <a:pt x="49842" y="42134"/>
                  </a:cubicBezTo>
                  <a:cubicBezTo>
                    <a:pt x="49842" y="26174"/>
                    <a:pt x="62622" y="13406"/>
                    <a:pt x="78597" y="13406"/>
                  </a:cubicBezTo>
                  <a:cubicBezTo>
                    <a:pt x="94571" y="13406"/>
                    <a:pt x="107351" y="26174"/>
                    <a:pt x="107351" y="42134"/>
                  </a:cubicBezTo>
                  <a:cubicBezTo>
                    <a:pt x="107351" y="58094"/>
                    <a:pt x="93933" y="70862"/>
                    <a:pt x="78597" y="7086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4" name="Graphic 4">
              <a:extLst>
                <a:ext uri="{FF2B5EF4-FFF2-40B4-BE49-F238E27FC236}">
                  <a16:creationId xmlns:a16="http://schemas.microsoft.com/office/drawing/2014/main" id="{6F53F63A-2531-496F-9D84-D9034A745BAA}"/>
                </a:ext>
              </a:extLst>
            </p:cNvPr>
            <p:cNvSpPr/>
            <p:nvPr/>
          </p:nvSpPr>
          <p:spPr>
            <a:xfrm>
              <a:off x="10555537" y="1142895"/>
              <a:ext cx="14696" cy="14683"/>
            </a:xfrm>
            <a:custGeom>
              <a:avLst/>
              <a:gdLst>
                <a:gd name="connsiteX0" fmla="*/ 0 w 14696"/>
                <a:gd name="connsiteY0" fmla="*/ 14683 h 14683"/>
                <a:gd name="connsiteX1" fmla="*/ 14696 w 14696"/>
                <a:gd name="connsiteY1" fmla="*/ 14683 h 14683"/>
                <a:gd name="connsiteX2" fmla="*/ 14696 w 14696"/>
                <a:gd name="connsiteY2" fmla="*/ 0 h 14683"/>
                <a:gd name="connsiteX3" fmla="*/ 0 w 14696"/>
                <a:gd name="connsiteY3" fmla="*/ 14683 h 14683"/>
              </a:gdLst>
              <a:ahLst/>
              <a:cxnLst>
                <a:cxn ang="0">
                  <a:pos x="connsiteX0" y="connsiteY0"/>
                </a:cxn>
                <a:cxn ang="0">
                  <a:pos x="connsiteX1" y="connsiteY1"/>
                </a:cxn>
                <a:cxn ang="0">
                  <a:pos x="connsiteX2" y="connsiteY2"/>
                </a:cxn>
                <a:cxn ang="0">
                  <a:pos x="connsiteX3" y="connsiteY3"/>
                </a:cxn>
              </a:cxnLst>
              <a:rect l="l" t="t" r="r" b="b"/>
              <a:pathLst>
                <a:path w="14696" h="14683">
                  <a:moveTo>
                    <a:pt x="0" y="14683"/>
                  </a:moveTo>
                  <a:lnTo>
                    <a:pt x="14696" y="14683"/>
                  </a:lnTo>
                  <a:lnTo>
                    <a:pt x="14696" y="0"/>
                  </a:lnTo>
                  <a:cubicBezTo>
                    <a:pt x="7668" y="1915"/>
                    <a:pt x="1917" y="7022"/>
                    <a:pt x="0" y="14683"/>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5" name="Graphic 4">
              <a:extLst>
                <a:ext uri="{FF2B5EF4-FFF2-40B4-BE49-F238E27FC236}">
                  <a16:creationId xmlns:a16="http://schemas.microsoft.com/office/drawing/2014/main" id="{09E55C96-C4AF-49DF-9974-32266C2ADA5E}"/>
                </a:ext>
              </a:extLst>
            </p:cNvPr>
            <p:cNvSpPr/>
            <p:nvPr/>
          </p:nvSpPr>
          <p:spPr>
            <a:xfrm>
              <a:off x="10413680" y="1073310"/>
              <a:ext cx="14697" cy="14683"/>
            </a:xfrm>
            <a:custGeom>
              <a:avLst/>
              <a:gdLst>
                <a:gd name="connsiteX0" fmla="*/ 14697 w 14697"/>
                <a:gd name="connsiteY0" fmla="*/ 0 h 14683"/>
                <a:gd name="connsiteX1" fmla="*/ 0 w 14697"/>
                <a:gd name="connsiteY1" fmla="*/ 0 h 14683"/>
                <a:gd name="connsiteX2" fmla="*/ 0 w 14697"/>
                <a:gd name="connsiteY2" fmla="*/ 14683 h 14683"/>
                <a:gd name="connsiteX3" fmla="*/ 14697 w 14697"/>
                <a:gd name="connsiteY3" fmla="*/ 0 h 14683"/>
              </a:gdLst>
              <a:ahLst/>
              <a:cxnLst>
                <a:cxn ang="0">
                  <a:pos x="connsiteX0" y="connsiteY0"/>
                </a:cxn>
                <a:cxn ang="0">
                  <a:pos x="connsiteX1" y="connsiteY1"/>
                </a:cxn>
                <a:cxn ang="0">
                  <a:pos x="connsiteX2" y="connsiteY2"/>
                </a:cxn>
                <a:cxn ang="0">
                  <a:pos x="connsiteX3" y="connsiteY3"/>
                </a:cxn>
              </a:cxnLst>
              <a:rect l="l" t="t" r="r" b="b"/>
              <a:pathLst>
                <a:path w="14697" h="14683">
                  <a:moveTo>
                    <a:pt x="14697" y="0"/>
                  </a:moveTo>
                  <a:lnTo>
                    <a:pt x="0" y="0"/>
                  </a:lnTo>
                  <a:lnTo>
                    <a:pt x="0" y="14683"/>
                  </a:lnTo>
                  <a:cubicBezTo>
                    <a:pt x="7030" y="12768"/>
                    <a:pt x="12780" y="7661"/>
                    <a:pt x="14697"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6" name="Graphic 4">
              <a:extLst>
                <a:ext uri="{FF2B5EF4-FFF2-40B4-BE49-F238E27FC236}">
                  <a16:creationId xmlns:a16="http://schemas.microsoft.com/office/drawing/2014/main" id="{734E4B31-3A77-4363-9938-6E917AD491BD}"/>
                </a:ext>
              </a:extLst>
            </p:cNvPr>
            <p:cNvSpPr/>
            <p:nvPr/>
          </p:nvSpPr>
          <p:spPr>
            <a:xfrm>
              <a:off x="10583013" y="1068202"/>
              <a:ext cx="14697" cy="58094"/>
            </a:xfrm>
            <a:custGeom>
              <a:avLst/>
              <a:gdLst>
                <a:gd name="connsiteX0" fmla="*/ 0 w 14697"/>
                <a:gd name="connsiteY0" fmla="*/ 0 h 58094"/>
                <a:gd name="connsiteX1" fmla="*/ 0 w 14697"/>
                <a:gd name="connsiteY1" fmla="*/ 58094 h 58094"/>
                <a:gd name="connsiteX2" fmla="*/ 14697 w 14697"/>
                <a:gd name="connsiteY2" fmla="*/ 56179 h 58094"/>
                <a:gd name="connsiteX3" fmla="*/ 7668 w 14697"/>
                <a:gd name="connsiteY3" fmla="*/ 638 h 58094"/>
                <a:gd name="connsiteX4" fmla="*/ 0 w 14697"/>
                <a:gd name="connsiteY4" fmla="*/ 0 h 58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7" h="58094">
                  <a:moveTo>
                    <a:pt x="0" y="0"/>
                  </a:moveTo>
                  <a:lnTo>
                    <a:pt x="0" y="58094"/>
                  </a:lnTo>
                  <a:lnTo>
                    <a:pt x="14697" y="56179"/>
                  </a:lnTo>
                  <a:lnTo>
                    <a:pt x="7668" y="638"/>
                  </a:lnTo>
                  <a:cubicBezTo>
                    <a:pt x="5112" y="638"/>
                    <a:pt x="2556" y="638"/>
                    <a:pt x="0"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7" name="Graphic 4">
              <a:extLst>
                <a:ext uri="{FF2B5EF4-FFF2-40B4-BE49-F238E27FC236}">
                  <a16:creationId xmlns:a16="http://schemas.microsoft.com/office/drawing/2014/main" id="{1E0D74D1-2141-4ED8-A398-87C2E024D484}"/>
                </a:ext>
              </a:extLst>
            </p:cNvPr>
            <p:cNvSpPr/>
            <p:nvPr/>
          </p:nvSpPr>
          <p:spPr>
            <a:xfrm>
              <a:off x="10324860" y="918179"/>
              <a:ext cx="361674" cy="361333"/>
            </a:xfrm>
            <a:custGeom>
              <a:avLst/>
              <a:gdLst>
                <a:gd name="connsiteX0" fmla="*/ 180835 w 361674"/>
                <a:gd name="connsiteY0" fmla="*/ 0 h 361333"/>
                <a:gd name="connsiteX1" fmla="*/ 0 w 361674"/>
                <a:gd name="connsiteY1" fmla="*/ 180667 h 361333"/>
                <a:gd name="connsiteX2" fmla="*/ 180835 w 361674"/>
                <a:gd name="connsiteY2" fmla="*/ 361333 h 361333"/>
                <a:gd name="connsiteX3" fmla="*/ 361670 w 361674"/>
                <a:gd name="connsiteY3" fmla="*/ 180667 h 361333"/>
                <a:gd name="connsiteX4" fmla="*/ 180835 w 361674"/>
                <a:gd name="connsiteY4" fmla="*/ 0 h 361333"/>
                <a:gd name="connsiteX5" fmla="*/ 280518 w 361674"/>
                <a:gd name="connsiteY5" fmla="*/ 218332 h 361333"/>
                <a:gd name="connsiteX6" fmla="*/ 258153 w 361674"/>
                <a:gd name="connsiteY6" fmla="*/ 221524 h 361333"/>
                <a:gd name="connsiteX7" fmla="*/ 258153 w 361674"/>
                <a:gd name="connsiteY7" fmla="*/ 245783 h 361333"/>
                <a:gd name="connsiteX8" fmla="*/ 251763 w 361674"/>
                <a:gd name="connsiteY8" fmla="*/ 252167 h 361333"/>
                <a:gd name="connsiteX9" fmla="*/ 82430 w 361674"/>
                <a:gd name="connsiteY9" fmla="*/ 252167 h 361333"/>
                <a:gd name="connsiteX10" fmla="*/ 76040 w 361674"/>
                <a:gd name="connsiteY10" fmla="*/ 245783 h 361333"/>
                <a:gd name="connsiteX11" fmla="*/ 76040 w 361674"/>
                <a:gd name="connsiteY11" fmla="*/ 149385 h 361333"/>
                <a:gd name="connsiteX12" fmla="*/ 82430 w 361674"/>
                <a:gd name="connsiteY12" fmla="*/ 143001 h 361333"/>
                <a:gd name="connsiteX13" fmla="*/ 93293 w 361674"/>
                <a:gd name="connsiteY13" fmla="*/ 143001 h 361333"/>
                <a:gd name="connsiteX14" fmla="*/ 92654 w 361674"/>
                <a:gd name="connsiteY14" fmla="*/ 139171 h 361333"/>
                <a:gd name="connsiteX15" fmla="*/ 98404 w 361674"/>
                <a:gd name="connsiteY15" fmla="*/ 132148 h 361333"/>
                <a:gd name="connsiteX16" fmla="*/ 237705 w 361674"/>
                <a:gd name="connsiteY16" fmla="*/ 113635 h 361333"/>
                <a:gd name="connsiteX17" fmla="*/ 237705 w 361674"/>
                <a:gd name="connsiteY17" fmla="*/ 113635 h 361333"/>
                <a:gd name="connsiteX18" fmla="*/ 237705 w 361674"/>
                <a:gd name="connsiteY18" fmla="*/ 113635 h 361333"/>
                <a:gd name="connsiteX19" fmla="*/ 266460 w 361674"/>
                <a:gd name="connsiteY19" fmla="*/ 109804 h 361333"/>
                <a:gd name="connsiteX20" fmla="*/ 273489 w 361674"/>
                <a:gd name="connsiteY20" fmla="*/ 115550 h 361333"/>
                <a:gd name="connsiteX21" fmla="*/ 277323 w 361674"/>
                <a:gd name="connsiteY21" fmla="*/ 144278 h 361333"/>
                <a:gd name="connsiteX22" fmla="*/ 277323 w 361674"/>
                <a:gd name="connsiteY22" fmla="*/ 144278 h 361333"/>
                <a:gd name="connsiteX23" fmla="*/ 277323 w 361674"/>
                <a:gd name="connsiteY23" fmla="*/ 144278 h 361333"/>
                <a:gd name="connsiteX24" fmla="*/ 286269 w 361674"/>
                <a:gd name="connsiteY24" fmla="*/ 211310 h 361333"/>
                <a:gd name="connsiteX25" fmla="*/ 280518 w 361674"/>
                <a:gd name="connsiteY25" fmla="*/ 218332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1674" h="361333">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2309" y="81077"/>
                    <a:pt x="281157" y="0"/>
                    <a:pt x="180835" y="0"/>
                  </a:cubicBezTo>
                  <a:close/>
                  <a:moveTo>
                    <a:pt x="280518" y="218332"/>
                  </a:moveTo>
                  <a:lnTo>
                    <a:pt x="258153" y="221524"/>
                  </a:lnTo>
                  <a:lnTo>
                    <a:pt x="258153" y="245783"/>
                  </a:lnTo>
                  <a:cubicBezTo>
                    <a:pt x="258153" y="249614"/>
                    <a:pt x="255597" y="252167"/>
                    <a:pt x="251763" y="252167"/>
                  </a:cubicBezTo>
                  <a:lnTo>
                    <a:pt x="82430" y="252167"/>
                  </a:lnTo>
                  <a:cubicBezTo>
                    <a:pt x="78596" y="252167"/>
                    <a:pt x="76040" y="249614"/>
                    <a:pt x="76040" y="245783"/>
                  </a:cubicBezTo>
                  <a:lnTo>
                    <a:pt x="76040" y="149385"/>
                  </a:lnTo>
                  <a:cubicBezTo>
                    <a:pt x="76040" y="145555"/>
                    <a:pt x="78596" y="143001"/>
                    <a:pt x="82430" y="143001"/>
                  </a:cubicBezTo>
                  <a:lnTo>
                    <a:pt x="93293" y="143001"/>
                  </a:lnTo>
                  <a:lnTo>
                    <a:pt x="92654" y="139171"/>
                  </a:lnTo>
                  <a:cubicBezTo>
                    <a:pt x="92014" y="135979"/>
                    <a:pt x="94571" y="132787"/>
                    <a:pt x="98404" y="132148"/>
                  </a:cubicBezTo>
                  <a:lnTo>
                    <a:pt x="237705" y="113635"/>
                  </a:lnTo>
                  <a:cubicBezTo>
                    <a:pt x="237705" y="113635"/>
                    <a:pt x="237705" y="113635"/>
                    <a:pt x="237705" y="113635"/>
                  </a:cubicBezTo>
                  <a:cubicBezTo>
                    <a:pt x="237705" y="113635"/>
                    <a:pt x="237705" y="113635"/>
                    <a:pt x="237705" y="113635"/>
                  </a:cubicBezTo>
                  <a:lnTo>
                    <a:pt x="266460" y="109804"/>
                  </a:lnTo>
                  <a:cubicBezTo>
                    <a:pt x="269655" y="109166"/>
                    <a:pt x="272850" y="111720"/>
                    <a:pt x="273489" y="115550"/>
                  </a:cubicBezTo>
                  <a:lnTo>
                    <a:pt x="277323" y="144278"/>
                  </a:lnTo>
                  <a:cubicBezTo>
                    <a:pt x="277323" y="144278"/>
                    <a:pt x="277323" y="144278"/>
                    <a:pt x="277323" y="144278"/>
                  </a:cubicBezTo>
                  <a:cubicBezTo>
                    <a:pt x="277323" y="144278"/>
                    <a:pt x="277323" y="144278"/>
                    <a:pt x="277323" y="144278"/>
                  </a:cubicBezTo>
                  <a:lnTo>
                    <a:pt x="286269" y="211310"/>
                  </a:lnTo>
                  <a:cubicBezTo>
                    <a:pt x="286269" y="214502"/>
                    <a:pt x="284352" y="217694"/>
                    <a:pt x="280518" y="21833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8" name="Graphic 4">
              <a:extLst>
                <a:ext uri="{FF2B5EF4-FFF2-40B4-BE49-F238E27FC236}">
                  <a16:creationId xmlns:a16="http://schemas.microsoft.com/office/drawing/2014/main" id="{9BD52B34-0819-4A82-8716-41B6F2B738E2}"/>
                </a:ext>
              </a:extLst>
            </p:cNvPr>
            <p:cNvSpPr/>
            <p:nvPr/>
          </p:nvSpPr>
          <p:spPr>
            <a:xfrm>
              <a:off x="10413680" y="1142257"/>
              <a:ext cx="14697" cy="14683"/>
            </a:xfrm>
            <a:custGeom>
              <a:avLst/>
              <a:gdLst>
                <a:gd name="connsiteX0" fmla="*/ 0 w 14697"/>
                <a:gd name="connsiteY0" fmla="*/ 0 h 14683"/>
                <a:gd name="connsiteX1" fmla="*/ 0 w 14697"/>
                <a:gd name="connsiteY1" fmla="*/ 14683 h 14683"/>
                <a:gd name="connsiteX2" fmla="*/ 14697 w 14697"/>
                <a:gd name="connsiteY2" fmla="*/ 14683 h 14683"/>
                <a:gd name="connsiteX3" fmla="*/ 0 w 14697"/>
                <a:gd name="connsiteY3" fmla="*/ 0 h 14683"/>
              </a:gdLst>
              <a:ahLst/>
              <a:cxnLst>
                <a:cxn ang="0">
                  <a:pos x="connsiteX0" y="connsiteY0"/>
                </a:cxn>
                <a:cxn ang="0">
                  <a:pos x="connsiteX1" y="connsiteY1"/>
                </a:cxn>
                <a:cxn ang="0">
                  <a:pos x="connsiteX2" y="connsiteY2"/>
                </a:cxn>
                <a:cxn ang="0">
                  <a:pos x="connsiteX3" y="connsiteY3"/>
                </a:cxn>
              </a:cxnLst>
              <a:rect l="l" t="t" r="r" b="b"/>
              <a:pathLst>
                <a:path w="14697" h="14683">
                  <a:moveTo>
                    <a:pt x="0" y="0"/>
                  </a:moveTo>
                  <a:lnTo>
                    <a:pt x="0" y="14683"/>
                  </a:lnTo>
                  <a:lnTo>
                    <a:pt x="14697" y="14683"/>
                  </a:lnTo>
                  <a:cubicBezTo>
                    <a:pt x="12780" y="7661"/>
                    <a:pt x="7030" y="2554"/>
                    <a:pt x="0"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60" name="Freeform: Shape 59">
            <a:extLst>
              <a:ext uri="{FF2B5EF4-FFF2-40B4-BE49-F238E27FC236}">
                <a16:creationId xmlns:a16="http://schemas.microsoft.com/office/drawing/2014/main" id="{69CBDF0B-C0CD-4DD3-9D42-BD048DDFD709}"/>
              </a:ext>
            </a:extLst>
          </p:cNvPr>
          <p:cNvSpPr/>
          <p:nvPr/>
        </p:nvSpPr>
        <p:spPr bwMode="gray">
          <a:xfrm>
            <a:off x="5060092" y="2056315"/>
            <a:ext cx="2676040" cy="500324"/>
          </a:xfrm>
          <a:custGeom>
            <a:avLst/>
            <a:gdLst>
              <a:gd name="connsiteX0" fmla="*/ 0 w 2984157"/>
              <a:gd name="connsiteY0" fmla="*/ 377966 h 500324"/>
              <a:gd name="connsiteX1" fmla="*/ 543697 w 2984157"/>
              <a:gd name="connsiteY1" fmla="*/ 1085 h 500324"/>
              <a:gd name="connsiteX2" fmla="*/ 2255108 w 2984157"/>
              <a:gd name="connsiteY2" fmla="*/ 482999 h 500324"/>
              <a:gd name="connsiteX3" fmla="*/ 2984157 w 2984157"/>
              <a:gd name="connsiteY3" fmla="*/ 347074 h 500324"/>
            </a:gdLst>
            <a:ahLst/>
            <a:cxnLst>
              <a:cxn ang="0">
                <a:pos x="connsiteX0" y="connsiteY0"/>
              </a:cxn>
              <a:cxn ang="0">
                <a:pos x="connsiteX1" y="connsiteY1"/>
              </a:cxn>
              <a:cxn ang="0">
                <a:pos x="connsiteX2" y="connsiteY2"/>
              </a:cxn>
              <a:cxn ang="0">
                <a:pos x="connsiteX3" y="connsiteY3"/>
              </a:cxn>
            </a:cxnLst>
            <a:rect l="l" t="t" r="r" b="b"/>
            <a:pathLst>
              <a:path w="2984157" h="500324">
                <a:moveTo>
                  <a:pt x="0" y="377966"/>
                </a:moveTo>
                <a:cubicBezTo>
                  <a:pt x="83923" y="180772"/>
                  <a:pt x="167846" y="-16421"/>
                  <a:pt x="543697" y="1085"/>
                </a:cubicBezTo>
                <a:cubicBezTo>
                  <a:pt x="919548" y="18590"/>
                  <a:pt x="1848365" y="425334"/>
                  <a:pt x="2255108" y="482999"/>
                </a:cubicBezTo>
                <a:cubicBezTo>
                  <a:pt x="2661851" y="540664"/>
                  <a:pt x="2823004" y="443869"/>
                  <a:pt x="2984157" y="347074"/>
                </a:cubicBezTo>
              </a:path>
            </a:pathLst>
          </a:custGeom>
          <a:ln w="3175">
            <a:solidFill>
              <a:schemeClr val="accent4"/>
            </a:solidFill>
            <a:prstDash val="lgDashDotDot"/>
            <a:headEnd/>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0400982E-E500-48A9-B7E8-E4AA62E2813F}"/>
              </a:ext>
            </a:extLst>
          </p:cNvPr>
          <p:cNvSpPr txBox="1"/>
          <p:nvPr/>
        </p:nvSpPr>
        <p:spPr>
          <a:xfrm>
            <a:off x="2368017" y="2735231"/>
            <a:ext cx="1294240" cy="1031051"/>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1" i="0" u="none" strike="noStrike" kern="1200" cap="none" spc="0" normalizeH="0" baseline="0" noProof="0" dirty="0">
                <a:ln>
                  <a:noFill/>
                </a:ln>
                <a:solidFill>
                  <a:srgbClr val="007CB0"/>
                </a:solidFill>
                <a:effectLst/>
                <a:uLnTx/>
                <a:uFillTx/>
                <a:latin typeface="Open Sans" panose="020B0606030504020204" pitchFamily="34" charset="0"/>
                <a:ea typeface="Open Sans" panose="020B0606030504020204" pitchFamily="34" charset="0"/>
                <a:cs typeface="Open Sans" panose="020B0606030504020204" pitchFamily="34" charset="0"/>
              </a:rPr>
              <a:t>5</a:t>
            </a:r>
            <a:r>
              <a:rPr kumimoji="0" lang="en-US" sz="280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180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ax</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1" i="0" u="none" strike="noStrike" kern="1200" cap="none" spc="0" normalizeH="0" baseline="0" noProof="0" dirty="0">
                <a:ln>
                  <a:noFill/>
                </a:ln>
                <a:solidFill>
                  <a:srgbClr val="007CB0"/>
                </a:solidFill>
                <a:effectLst/>
                <a:uLnTx/>
                <a:uFillTx/>
                <a:latin typeface="Open Sans" panose="020B0606030504020204" pitchFamily="34" charset="0"/>
                <a:ea typeface="Open Sans" panose="020B0606030504020204" pitchFamily="34" charset="0"/>
                <a:cs typeface="Open Sans" panose="020B0606030504020204" pitchFamily="34" charset="0"/>
              </a:rPr>
              <a:t>4</a:t>
            </a:r>
            <a:r>
              <a:rPr kumimoji="0" lang="en-US" sz="1800" b="0" i="0" u="none" strike="noStrike" kern="1200" cap="none" spc="0" normalizeH="0" baseline="0" noProof="0" dirty="0">
                <a:ln>
                  <a:noFill/>
                </a:ln>
                <a:solidFill>
                  <a:srgbClr val="31313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udit</a:t>
            </a:r>
          </a:p>
        </p:txBody>
      </p:sp>
      <p:sp>
        <p:nvSpPr>
          <p:cNvPr id="95" name="Rectangle: Rounded Corners 94">
            <a:extLst>
              <a:ext uri="{FF2B5EF4-FFF2-40B4-BE49-F238E27FC236}">
                <a16:creationId xmlns:a16="http://schemas.microsoft.com/office/drawing/2014/main" id="{EB1894B8-9B8E-43B9-AE22-BF00EA8F5E05}"/>
              </a:ext>
            </a:extLst>
          </p:cNvPr>
          <p:cNvSpPr/>
          <p:nvPr/>
        </p:nvSpPr>
        <p:spPr bwMode="gray">
          <a:xfrm>
            <a:off x="1322282" y="3720662"/>
            <a:ext cx="2604121" cy="759565"/>
          </a:xfrm>
          <a:prstGeom prst="roundRect">
            <a:avLst/>
          </a:prstGeom>
          <a:solidFill>
            <a:schemeClr val="accent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2000" b="1" i="0" u="none" strike="noStrike" kern="1200" cap="none" spc="0" normalizeH="0" baseline="0" noProof="0" dirty="0">
                <a:ln>
                  <a:noFill/>
                </a:ln>
                <a:solidFill>
                  <a:srgbClr val="86BC25">
                    <a:lumMod val="20000"/>
                    <a:lumOff val="80000"/>
                  </a:srgbClr>
                </a:solidFill>
                <a:effectLst/>
                <a:uLnTx/>
                <a:uFillTx/>
                <a:latin typeface="Open Sans" panose="020B0606030504020204" pitchFamily="34" charset="0"/>
                <a:ea typeface="Open Sans" panose="020B0606030504020204" pitchFamily="34" charset="0"/>
                <a:cs typeface="Open Sans" panose="020B0606030504020204" pitchFamily="34" charset="0"/>
              </a:rPr>
              <a:t>97% </a:t>
            </a:r>
            <a:r>
              <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ATTENDANCE</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2000" b="1" i="0" u="none" strike="noStrike" kern="1200" cap="none" spc="0" normalizeH="0" baseline="0" noProof="0" dirty="0">
                <a:ln>
                  <a:noFill/>
                </a:ln>
                <a:solidFill>
                  <a:srgbClr val="86BC25">
                    <a:lumMod val="20000"/>
                    <a:lumOff val="80000"/>
                  </a:srgbClr>
                </a:solidFill>
                <a:effectLst/>
                <a:uLnTx/>
                <a:uFillTx/>
                <a:latin typeface="Open Sans" panose="020B0606030504020204" pitchFamily="34" charset="0"/>
                <a:ea typeface="Open Sans" panose="020B0606030504020204" pitchFamily="34" charset="0"/>
                <a:cs typeface="Open Sans" panose="020B0606030504020204" pitchFamily="34" charset="0"/>
              </a:rPr>
              <a:t>93%</a:t>
            </a:r>
            <a:r>
              <a:rPr kumimoji="0" lang="en-US" sz="16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AVERAGE SCORES</a:t>
            </a:r>
          </a:p>
        </p:txBody>
      </p:sp>
      <p:sp>
        <p:nvSpPr>
          <p:cNvPr id="96" name="TextBox 95">
            <a:extLst>
              <a:ext uri="{FF2B5EF4-FFF2-40B4-BE49-F238E27FC236}">
                <a16:creationId xmlns:a16="http://schemas.microsoft.com/office/drawing/2014/main" id="{DE2345D1-A48E-4B14-A1C0-92C8EA9220AA}"/>
              </a:ext>
            </a:extLst>
          </p:cNvPr>
          <p:cNvSpPr txBox="1"/>
          <p:nvPr/>
        </p:nvSpPr>
        <p:spPr>
          <a:xfrm>
            <a:off x="852661" y="5079357"/>
            <a:ext cx="1251946"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Staffing Support</a:t>
            </a:r>
          </a:p>
        </p:txBody>
      </p:sp>
      <p:sp>
        <p:nvSpPr>
          <p:cNvPr id="104" name="TextBox 103">
            <a:extLst>
              <a:ext uri="{FF2B5EF4-FFF2-40B4-BE49-F238E27FC236}">
                <a16:creationId xmlns:a16="http://schemas.microsoft.com/office/drawing/2014/main" id="{E4FFB37B-B2EE-40B6-833C-6BE29EE7065C}"/>
              </a:ext>
            </a:extLst>
          </p:cNvPr>
          <p:cNvSpPr txBox="1"/>
          <p:nvPr/>
        </p:nvSpPr>
        <p:spPr>
          <a:xfrm>
            <a:off x="2139754" y="4940858"/>
            <a:ext cx="2327296" cy="461665"/>
          </a:xfrm>
          <a:prstGeom prst="rect">
            <a:avLst/>
          </a:prstGeom>
          <a:noFill/>
        </p:spPr>
        <p:txBody>
          <a:bodyPr wrap="square">
            <a:sp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espoke Retention Packages</a:t>
            </a:r>
          </a:p>
        </p:txBody>
      </p:sp>
      <p:sp>
        <p:nvSpPr>
          <p:cNvPr id="102" name="Freeform: Shape 101">
            <a:extLst>
              <a:ext uri="{FF2B5EF4-FFF2-40B4-BE49-F238E27FC236}">
                <a16:creationId xmlns:a16="http://schemas.microsoft.com/office/drawing/2014/main" id="{C9FDB1F6-3F3E-4A13-A746-DF47FBBFD552}"/>
              </a:ext>
            </a:extLst>
          </p:cNvPr>
          <p:cNvSpPr/>
          <p:nvPr/>
        </p:nvSpPr>
        <p:spPr bwMode="gray">
          <a:xfrm>
            <a:off x="3867665" y="2692880"/>
            <a:ext cx="639114" cy="2761735"/>
          </a:xfrm>
          <a:custGeom>
            <a:avLst/>
            <a:gdLst>
              <a:gd name="connsiteX0" fmla="*/ 370703 w 639114"/>
              <a:gd name="connsiteY0" fmla="*/ 2761735 h 2761735"/>
              <a:gd name="connsiteX1" fmla="*/ 506627 w 639114"/>
              <a:gd name="connsiteY1" fmla="*/ 2075935 h 2761735"/>
              <a:gd name="connsiteX2" fmla="*/ 240957 w 639114"/>
              <a:gd name="connsiteY2" fmla="*/ 1495167 h 2761735"/>
              <a:gd name="connsiteX3" fmla="*/ 636373 w 639114"/>
              <a:gd name="connsiteY3" fmla="*/ 568410 h 2761735"/>
              <a:gd name="connsiteX4" fmla="*/ 0 w 639114"/>
              <a:gd name="connsiteY4" fmla="*/ 0 h 2761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114" h="2761735">
                <a:moveTo>
                  <a:pt x="370703" y="2761735"/>
                </a:moveTo>
                <a:cubicBezTo>
                  <a:pt x="449477" y="2524382"/>
                  <a:pt x="528251" y="2287030"/>
                  <a:pt x="506627" y="2075935"/>
                </a:cubicBezTo>
                <a:cubicBezTo>
                  <a:pt x="485003" y="1864840"/>
                  <a:pt x="219333" y="1746421"/>
                  <a:pt x="240957" y="1495167"/>
                </a:cubicBezTo>
                <a:cubicBezTo>
                  <a:pt x="262581" y="1243913"/>
                  <a:pt x="676532" y="817604"/>
                  <a:pt x="636373" y="568410"/>
                </a:cubicBezTo>
                <a:cubicBezTo>
                  <a:pt x="596214" y="319216"/>
                  <a:pt x="291413" y="102973"/>
                  <a:pt x="0" y="0"/>
                </a:cubicBezTo>
              </a:path>
            </a:pathLst>
          </a:custGeom>
          <a:ln w="3175">
            <a:solidFill>
              <a:schemeClr val="accent4"/>
            </a:solidFill>
            <a:prstDash val="lgDashDotDot"/>
            <a:headEnd/>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Rectangle 1">
            <a:extLst>
              <a:ext uri="{FF2B5EF4-FFF2-40B4-BE49-F238E27FC236}">
                <a16:creationId xmlns:a16="http://schemas.microsoft.com/office/drawing/2014/main" id="{08F3128F-5BB9-428E-AF29-0F194020937B}"/>
              </a:ext>
            </a:extLst>
          </p:cNvPr>
          <p:cNvSpPr/>
          <p:nvPr/>
        </p:nvSpPr>
        <p:spPr bwMode="gray">
          <a:xfrm>
            <a:off x="0" y="0"/>
            <a:ext cx="12192000" cy="1068859"/>
          </a:xfrm>
          <a:prstGeom prst="rect">
            <a:avLst/>
          </a:prstGeom>
          <a:solidFill>
            <a:schemeClr val="tx1"/>
          </a:solidFill>
          <a:ln w="19050" algn="ctr">
            <a:noFill/>
            <a:miter lim="800000"/>
            <a:headEnd/>
            <a:tailEnd/>
          </a:ln>
        </p:spPr>
        <p:txBody>
          <a:bodyPr wrap="square" lIns="88900" tIns="2286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3600" b="1" i="0" u="none" strike="noStrike" kern="1200" cap="all" spc="0" normalizeH="0" baseline="0" noProof="0" dirty="0">
                <a:ln>
                  <a:noFill/>
                </a:ln>
                <a:solidFill>
                  <a:srgbClr val="86BC25"/>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What we build: </a:t>
            </a:r>
            <a:r>
              <a:rPr kumimoji="0" lang="en-US" sz="3600" b="1" i="0" u="none" strike="noStrike" kern="1200" cap="all" spc="0" normalizeH="0" baseline="0" noProof="0" dirty="0">
                <a:ln>
                  <a:noFill/>
                </a:ln>
                <a:solidFill>
                  <a:prstClr val="white"/>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Deloitte AI Academy</a:t>
            </a:r>
            <a:endParaRPr kumimoji="0" lang="en-US" sz="3600" b="1" i="0" u="none" strike="noStrike" kern="1200" cap="all" spc="0" normalizeH="0" baseline="30000" noProof="0" dirty="0">
              <a:ln>
                <a:noFill/>
              </a:ln>
              <a:solidFill>
                <a:prstClr val="white"/>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r>
              <a:rPr kumimoji="0" lang="en-US" sz="4800" b="1" i="0" u="none" strike="noStrike" kern="1200" cap="none" spc="0" normalizeH="0" baseline="3000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An update on our inaugural graduating class</a:t>
            </a:r>
          </a:p>
        </p:txBody>
      </p:sp>
      <p:sp>
        <p:nvSpPr>
          <p:cNvPr id="10" name="TextBox 9">
            <a:extLst>
              <a:ext uri="{FF2B5EF4-FFF2-40B4-BE49-F238E27FC236}">
                <a16:creationId xmlns:a16="http://schemas.microsoft.com/office/drawing/2014/main" id="{0B36A346-B8FF-4F2F-A2AD-14965EDCB42F}"/>
              </a:ext>
            </a:extLst>
          </p:cNvPr>
          <p:cNvSpPr txBox="1"/>
          <p:nvPr/>
        </p:nvSpPr>
        <p:spPr>
          <a:xfrm>
            <a:off x="10666040" y="32497"/>
            <a:ext cx="108550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30000" noProof="0" dirty="0">
                <a:ln>
                  <a:noFill/>
                </a:ln>
                <a:solidFill>
                  <a:prstClr val="white"/>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TM</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5" name="Rectangle 104">
            <a:extLst>
              <a:ext uri="{FF2B5EF4-FFF2-40B4-BE49-F238E27FC236}">
                <a16:creationId xmlns:a16="http://schemas.microsoft.com/office/drawing/2014/main" id="{0095734F-7178-44F3-A546-EEEC530D7BD2}"/>
              </a:ext>
            </a:extLst>
          </p:cNvPr>
          <p:cNvSpPr/>
          <p:nvPr/>
        </p:nvSpPr>
        <p:spPr>
          <a:xfrm>
            <a:off x="4511849" y="2673145"/>
            <a:ext cx="3314684" cy="3255539"/>
          </a:xfrm>
          <a:prstGeom prst="rect">
            <a:avLst/>
          </a:prstGeom>
          <a:noFill/>
        </p:spPr>
        <p:txBody>
          <a:bodyPr wrap="none" lIns="91440" tIns="45720" rIns="91440" bIns="4572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600" b="0" i="0" u="none" strike="noStrike" kern="1200" cap="none" spc="0" normalizeH="0" baseline="0" noProof="0" dirty="0">
                <a:ln w="0"/>
                <a:solidFill>
                  <a:srgbClr val="86BC25"/>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Find Your Extraordinary!</a:t>
            </a:r>
          </a:p>
        </p:txBody>
      </p:sp>
      <p:sp>
        <p:nvSpPr>
          <p:cNvPr id="109" name="Rectangle: Rounded Corners 108">
            <a:extLst>
              <a:ext uri="{FF2B5EF4-FFF2-40B4-BE49-F238E27FC236}">
                <a16:creationId xmlns:a16="http://schemas.microsoft.com/office/drawing/2014/main" id="{E730A8BB-2EBC-450C-8CA0-F9233C8A6A17}"/>
              </a:ext>
            </a:extLst>
          </p:cNvPr>
          <p:cNvSpPr/>
          <p:nvPr/>
        </p:nvSpPr>
        <p:spPr bwMode="gray">
          <a:xfrm>
            <a:off x="7933884" y="2726111"/>
            <a:ext cx="4067505" cy="547393"/>
          </a:xfrm>
          <a:prstGeom prst="roundRect">
            <a:avLst/>
          </a:prstGeom>
          <a:solidFill>
            <a:srgbClr val="0070C0"/>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srgbClr val="007CB0">
                    <a:lumMod val="20000"/>
                    <a:lumOff val="80000"/>
                  </a:srgbClr>
                </a:solidFill>
                <a:effectLst/>
                <a:uLnTx/>
                <a:uFillTx/>
                <a:latin typeface="Open Sans" panose="020B0606030504020204" pitchFamily="34" charset="0"/>
                <a:ea typeface="Open Sans" panose="020B0606030504020204" pitchFamily="34" charset="0"/>
                <a:cs typeface="Open Sans" panose="020B0606030504020204" pitchFamily="34" charset="0"/>
              </a:rPr>
              <a:t>250+ </a:t>
            </a:r>
            <a:r>
              <a:rPr kumimoji="0" lang="en-US" sz="1600" b="1" i="0" u="none" strike="noStrike" kern="1200" cap="all"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hours of technical training</a:t>
            </a:r>
          </a:p>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srgbClr val="007CB0">
                    <a:lumMod val="20000"/>
                    <a:lumOff val="80000"/>
                  </a:srgbClr>
                </a:solidFill>
                <a:effectLst/>
                <a:uLnTx/>
                <a:uFillTx/>
                <a:latin typeface="Open Sans" panose="020B0606030504020204" pitchFamily="34" charset="0"/>
                <a:ea typeface="Open Sans" panose="020B0606030504020204" pitchFamily="34" charset="0"/>
                <a:cs typeface="Open Sans" panose="020B0606030504020204" pitchFamily="34" charset="0"/>
              </a:rPr>
              <a:t>50+ </a:t>
            </a:r>
            <a:r>
              <a:rPr kumimoji="0" lang="en-US" sz="1600" b="1" i="0" u="none" strike="noStrike" kern="1200" cap="all"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hours of Deloitte sessions</a:t>
            </a:r>
          </a:p>
        </p:txBody>
      </p:sp>
      <p:sp>
        <p:nvSpPr>
          <p:cNvPr id="107" name="Freeform: Shape 106">
            <a:extLst>
              <a:ext uri="{FF2B5EF4-FFF2-40B4-BE49-F238E27FC236}">
                <a16:creationId xmlns:a16="http://schemas.microsoft.com/office/drawing/2014/main" id="{950FC601-901E-42FA-9B0C-6137A12A0C60}"/>
              </a:ext>
            </a:extLst>
          </p:cNvPr>
          <p:cNvSpPr/>
          <p:nvPr/>
        </p:nvSpPr>
        <p:spPr bwMode="gray">
          <a:xfrm>
            <a:off x="7859055" y="3323578"/>
            <a:ext cx="616102" cy="1848170"/>
          </a:xfrm>
          <a:custGeom>
            <a:avLst/>
            <a:gdLst>
              <a:gd name="connsiteX0" fmla="*/ 153657 w 715890"/>
              <a:gd name="connsiteY0" fmla="*/ 0 h 1791730"/>
              <a:gd name="connsiteX1" fmla="*/ 23911 w 715890"/>
              <a:gd name="connsiteY1" fmla="*/ 228600 h 1791730"/>
              <a:gd name="connsiteX2" fmla="*/ 579965 w 715890"/>
              <a:gd name="connsiteY2" fmla="*/ 426308 h 1791730"/>
              <a:gd name="connsiteX3" fmla="*/ 227798 w 715890"/>
              <a:gd name="connsiteY3" fmla="*/ 648730 h 1791730"/>
              <a:gd name="connsiteX4" fmla="*/ 715890 w 715890"/>
              <a:gd name="connsiteY4" fmla="*/ 1791730 h 1791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890" h="1791730">
                <a:moveTo>
                  <a:pt x="153657" y="0"/>
                </a:moveTo>
                <a:cubicBezTo>
                  <a:pt x="53258" y="78774"/>
                  <a:pt x="-47140" y="157549"/>
                  <a:pt x="23911" y="228600"/>
                </a:cubicBezTo>
                <a:cubicBezTo>
                  <a:pt x="94962" y="299651"/>
                  <a:pt x="545984" y="356286"/>
                  <a:pt x="579965" y="426308"/>
                </a:cubicBezTo>
                <a:cubicBezTo>
                  <a:pt x="613946" y="496330"/>
                  <a:pt x="205144" y="421160"/>
                  <a:pt x="227798" y="648730"/>
                </a:cubicBezTo>
                <a:cubicBezTo>
                  <a:pt x="250452" y="876300"/>
                  <a:pt x="588204" y="1546654"/>
                  <a:pt x="715890" y="1791730"/>
                </a:cubicBezTo>
              </a:path>
            </a:pathLst>
          </a:custGeom>
          <a:ln w="3175">
            <a:solidFill>
              <a:schemeClr val="accent4"/>
            </a:solidFill>
            <a:prstDash val="lgDashDotDot"/>
            <a:headEnd/>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2" name="Rectangle 81">
            <a:extLst>
              <a:ext uri="{FF2B5EF4-FFF2-40B4-BE49-F238E27FC236}">
                <a16:creationId xmlns:a16="http://schemas.microsoft.com/office/drawing/2014/main" id="{EE8C9987-8A63-4CED-8030-547CC2E19510}"/>
              </a:ext>
            </a:extLst>
          </p:cNvPr>
          <p:cNvSpPr/>
          <p:nvPr/>
        </p:nvSpPr>
        <p:spPr bwMode="gray">
          <a:xfrm>
            <a:off x="0" y="6341037"/>
            <a:ext cx="12192000" cy="516963"/>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grpSp>
        <p:nvGrpSpPr>
          <p:cNvPr id="4" name="Group 3">
            <a:extLst>
              <a:ext uri="{FF2B5EF4-FFF2-40B4-BE49-F238E27FC236}">
                <a16:creationId xmlns:a16="http://schemas.microsoft.com/office/drawing/2014/main" id="{915A26EC-0B8A-4E27-ACC6-CE50F840E224}"/>
              </a:ext>
            </a:extLst>
          </p:cNvPr>
          <p:cNvGrpSpPr/>
          <p:nvPr/>
        </p:nvGrpSpPr>
        <p:grpSpPr>
          <a:xfrm>
            <a:off x="395953" y="6396779"/>
            <a:ext cx="11400094" cy="409831"/>
            <a:chOff x="441998" y="6396779"/>
            <a:chExt cx="11400094" cy="409831"/>
          </a:xfrm>
        </p:grpSpPr>
        <p:sp>
          <p:nvSpPr>
            <p:cNvPr id="79" name="Rectangle: Rounded Corners 78">
              <a:extLst>
                <a:ext uri="{FF2B5EF4-FFF2-40B4-BE49-F238E27FC236}">
                  <a16:creationId xmlns:a16="http://schemas.microsoft.com/office/drawing/2014/main" id="{86B9A85E-D77F-4E35-B053-B3123DF6D5BF}"/>
                </a:ext>
              </a:extLst>
            </p:cNvPr>
            <p:cNvSpPr/>
            <p:nvPr/>
          </p:nvSpPr>
          <p:spPr bwMode="gray">
            <a:xfrm>
              <a:off x="441998" y="6402414"/>
              <a:ext cx="3657600" cy="404196"/>
            </a:xfrm>
            <a:prstGeom prst="roundRect">
              <a:avLst/>
            </a:prstGeom>
            <a:solidFill>
              <a:schemeClr val="bg1">
                <a:lumMod val="65000"/>
              </a:schemeClr>
            </a:solidFill>
            <a:ln w="12700" algn="ctr">
              <a:noFill/>
              <a:miter lim="800000"/>
              <a:headEnd/>
              <a:tailEnd/>
            </a:ln>
          </p:spPr>
          <p:txBody>
            <a:bodyPr wrap="square" lIns="0" tIns="88900" rIns="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300" b="1" i="0" u="none" strike="noStrike" kern="1200" cap="none" spc="0" normalizeH="0" baseline="0" noProof="0" dirty="0">
                  <a:ln>
                    <a:noFill/>
                  </a:ln>
                  <a:solidFill>
                    <a:prstClr val="white"/>
                  </a:solidFill>
                  <a:effectLst/>
                  <a:uLnTx/>
                  <a:uFillTx/>
                  <a:latin typeface="Open Sans"/>
                  <a:ea typeface="+mn-ea"/>
                  <a:cs typeface="+mn-cs"/>
                </a:rPr>
                <a:t>Trailblazing Talent Vision</a:t>
              </a:r>
            </a:p>
          </p:txBody>
        </p:sp>
        <p:sp>
          <p:nvSpPr>
            <p:cNvPr id="80" name="Rectangle: Rounded Corners 79">
              <a:extLst>
                <a:ext uri="{FF2B5EF4-FFF2-40B4-BE49-F238E27FC236}">
                  <a16:creationId xmlns:a16="http://schemas.microsoft.com/office/drawing/2014/main" id="{33E66942-54CD-4CCC-BA20-DFDD2651744E}"/>
                </a:ext>
              </a:extLst>
            </p:cNvPr>
            <p:cNvSpPr/>
            <p:nvPr/>
          </p:nvSpPr>
          <p:spPr bwMode="gray">
            <a:xfrm>
              <a:off x="4313245" y="6396779"/>
              <a:ext cx="3657600" cy="404196"/>
            </a:xfrm>
            <a:prstGeom prst="roundRect">
              <a:avLst/>
            </a:prstGeom>
            <a:solidFill>
              <a:srgbClr val="92D050"/>
            </a:solidFill>
            <a:ln w="12700" algn="ctr">
              <a:noFill/>
              <a:miter lim="800000"/>
              <a:headEnd/>
              <a:tailEnd/>
            </a:ln>
          </p:spPr>
          <p:txBody>
            <a:bodyPr wrap="square" lIns="0" tIns="88900" rIns="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300" b="1" i="0" u="none" strike="noStrike" kern="1200" cap="none" spc="0" normalizeH="0" baseline="0" noProof="0" dirty="0">
                  <a:ln>
                    <a:noFill/>
                  </a:ln>
                  <a:solidFill>
                    <a:prstClr val="white"/>
                  </a:solidFill>
                  <a:effectLst/>
                  <a:uLnTx/>
                  <a:uFillTx/>
                  <a:latin typeface="Open Sans"/>
                  <a:ea typeface="+mn-ea"/>
                  <a:cs typeface="+mn-cs"/>
                </a:rPr>
                <a:t>Innovative Training Experience</a:t>
              </a:r>
            </a:p>
          </p:txBody>
        </p:sp>
        <p:sp>
          <p:nvSpPr>
            <p:cNvPr id="81" name="Rectangle: Rounded Corners 80">
              <a:extLst>
                <a:ext uri="{FF2B5EF4-FFF2-40B4-BE49-F238E27FC236}">
                  <a16:creationId xmlns:a16="http://schemas.microsoft.com/office/drawing/2014/main" id="{9E2BAC64-BAB2-4D2D-9D32-8BD1A9CE2A6A}"/>
                </a:ext>
              </a:extLst>
            </p:cNvPr>
            <p:cNvSpPr/>
            <p:nvPr/>
          </p:nvSpPr>
          <p:spPr bwMode="gray">
            <a:xfrm>
              <a:off x="8184492" y="6396779"/>
              <a:ext cx="3657600" cy="404196"/>
            </a:xfrm>
            <a:prstGeom prst="roundRect">
              <a:avLst/>
            </a:prstGeom>
            <a:solidFill>
              <a:srgbClr val="62B5E5"/>
            </a:solidFill>
            <a:ln w="12700" algn="ctr">
              <a:noFill/>
              <a:miter lim="800000"/>
              <a:headEnd/>
              <a:tailEnd/>
            </a:ln>
          </p:spPr>
          <p:txBody>
            <a:bodyPr wrap="square" lIns="0" tIns="88900" rIns="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300" b="1" i="0" u="none" strike="noStrike" kern="1200" cap="none" spc="0" normalizeH="0" baseline="0" noProof="0" dirty="0">
                  <a:ln>
                    <a:noFill/>
                  </a:ln>
                  <a:solidFill>
                    <a:prstClr val="white"/>
                  </a:solidFill>
                  <a:effectLst/>
                  <a:uLnTx/>
                  <a:uFillTx/>
                  <a:latin typeface="Open Sans"/>
                  <a:ea typeface="+mn-ea"/>
                  <a:cs typeface="+mn-cs"/>
                </a:rPr>
                <a:t>Disruptive Outcomes</a:t>
              </a:r>
            </a:p>
          </p:txBody>
        </p:sp>
      </p:grpSp>
      <p:sp>
        <p:nvSpPr>
          <p:cNvPr id="7" name="Freeform: Shape 6">
            <a:extLst>
              <a:ext uri="{FF2B5EF4-FFF2-40B4-BE49-F238E27FC236}">
                <a16:creationId xmlns:a16="http://schemas.microsoft.com/office/drawing/2014/main" id="{1D622978-991A-40B5-8E32-DAD37435FD3E}"/>
              </a:ext>
            </a:extLst>
          </p:cNvPr>
          <p:cNvSpPr/>
          <p:nvPr/>
        </p:nvSpPr>
        <p:spPr bwMode="gray">
          <a:xfrm>
            <a:off x="4540468" y="5282600"/>
            <a:ext cx="3950470" cy="947585"/>
          </a:xfrm>
          <a:custGeom>
            <a:avLst/>
            <a:gdLst>
              <a:gd name="connsiteX0" fmla="*/ 3909848 w 3909848"/>
              <a:gd name="connsiteY0" fmla="*/ 0 h 1229364"/>
              <a:gd name="connsiteX1" fmla="*/ 2743200 w 3909848"/>
              <a:gd name="connsiteY1" fmla="*/ 1072055 h 1229364"/>
              <a:gd name="connsiteX2" fmla="*/ 832419 w 3909848"/>
              <a:gd name="connsiteY2" fmla="*/ 1217098 h 1229364"/>
              <a:gd name="connsiteX3" fmla="*/ 725214 w 3909848"/>
              <a:gd name="connsiteY3" fmla="*/ 1008993 h 1229364"/>
              <a:gd name="connsiteX4" fmla="*/ 0 w 3909848"/>
              <a:gd name="connsiteY4" fmla="*/ 832419 h 1229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9848" h="1229364">
                <a:moveTo>
                  <a:pt x="3909848" y="0"/>
                </a:moveTo>
                <a:cubicBezTo>
                  <a:pt x="3582976" y="434602"/>
                  <a:pt x="3256105" y="869205"/>
                  <a:pt x="2743200" y="1072055"/>
                </a:cubicBezTo>
                <a:cubicBezTo>
                  <a:pt x="2230295" y="1274905"/>
                  <a:pt x="1168750" y="1227608"/>
                  <a:pt x="832419" y="1217098"/>
                </a:cubicBezTo>
                <a:cubicBezTo>
                  <a:pt x="496088" y="1206588"/>
                  <a:pt x="863950" y="1073106"/>
                  <a:pt x="725214" y="1008993"/>
                </a:cubicBezTo>
                <a:cubicBezTo>
                  <a:pt x="586478" y="944880"/>
                  <a:pt x="110359" y="867103"/>
                  <a:pt x="0" y="832419"/>
                </a:cubicBezTo>
              </a:path>
            </a:pathLst>
          </a:custGeom>
          <a:ln w="3175">
            <a:solidFill>
              <a:schemeClr val="accent4"/>
            </a:solidFill>
            <a:prstDash val="lgDashDotDot"/>
            <a:headEnd/>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 name="Group 2">
            <a:extLst>
              <a:ext uri="{FF2B5EF4-FFF2-40B4-BE49-F238E27FC236}">
                <a16:creationId xmlns:a16="http://schemas.microsoft.com/office/drawing/2014/main" id="{B0F6BACE-4D55-4CF1-9788-579C1AFD966C}"/>
              </a:ext>
            </a:extLst>
          </p:cNvPr>
          <p:cNvGrpSpPr/>
          <p:nvPr/>
        </p:nvGrpSpPr>
        <p:grpSpPr>
          <a:xfrm>
            <a:off x="10935528" y="3323579"/>
            <a:ext cx="1144243" cy="1502452"/>
            <a:chOff x="10935528" y="3212369"/>
            <a:chExt cx="1144243" cy="1502452"/>
          </a:xfrm>
        </p:grpSpPr>
        <p:pic>
          <p:nvPicPr>
            <p:cNvPr id="83" name="Picture 2">
              <a:extLst>
                <a:ext uri="{FF2B5EF4-FFF2-40B4-BE49-F238E27FC236}">
                  <a16:creationId xmlns:a16="http://schemas.microsoft.com/office/drawing/2014/main" id="{2C449F06-7587-4D4B-87A8-B16D94320EC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935528" y="3232738"/>
              <a:ext cx="611800" cy="181501"/>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32" descr="What is Hadoop? How to configure a Hadoop cluster in Linux. | by Syed  Junaid Hussain | DataDrivenInvestor">
              <a:extLst>
                <a:ext uri="{FF2B5EF4-FFF2-40B4-BE49-F238E27FC236}">
                  <a16:creationId xmlns:a16="http://schemas.microsoft.com/office/drawing/2014/main" id="{9ED50F6E-73F6-4F3D-8A5E-C565F1D64F0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538448" y="3212369"/>
              <a:ext cx="423311" cy="222238"/>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4">
              <a:extLst>
                <a:ext uri="{FF2B5EF4-FFF2-40B4-BE49-F238E27FC236}">
                  <a16:creationId xmlns:a16="http://schemas.microsoft.com/office/drawing/2014/main" id="{88C628C5-DDBB-4BE8-B721-9B504E7E554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935528" y="3700306"/>
              <a:ext cx="412596" cy="214357"/>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a:extLst>
                <a:ext uri="{FF2B5EF4-FFF2-40B4-BE49-F238E27FC236}">
                  <a16:creationId xmlns:a16="http://schemas.microsoft.com/office/drawing/2014/main" id="{C98F422A-4F7E-4828-AB01-187B106BA466}"/>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526099" y="3772579"/>
              <a:ext cx="246982" cy="222238"/>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
              <a:extLst>
                <a:ext uri="{FF2B5EF4-FFF2-40B4-BE49-F238E27FC236}">
                  <a16:creationId xmlns:a16="http://schemas.microsoft.com/office/drawing/2014/main" id="{5B742980-DC90-4795-B854-4BD88BEBFA21}"/>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347482" y="4175974"/>
              <a:ext cx="302108" cy="180852"/>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10" descr="Microsoft Azure Logo | evolution history and meaning, PNG">
              <a:extLst>
                <a:ext uri="{FF2B5EF4-FFF2-40B4-BE49-F238E27FC236}">
                  <a16:creationId xmlns:a16="http://schemas.microsoft.com/office/drawing/2014/main" id="{2C011DB7-DD2C-495E-B3DA-C017CE3735F9}"/>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935528" y="4272095"/>
              <a:ext cx="787069" cy="442726"/>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12" descr="Welcome To Colaboratory - Colaboratory">
              <a:extLst>
                <a:ext uri="{FF2B5EF4-FFF2-40B4-BE49-F238E27FC236}">
                  <a16:creationId xmlns:a16="http://schemas.microsoft.com/office/drawing/2014/main" id="{3617721D-8184-44F5-9685-D91AF3ED133E}"/>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935528" y="4113917"/>
              <a:ext cx="305222" cy="305222"/>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14">
              <a:extLst>
                <a:ext uri="{FF2B5EF4-FFF2-40B4-BE49-F238E27FC236}">
                  <a16:creationId xmlns:a16="http://schemas.microsoft.com/office/drawing/2014/main" id="{FB309DD1-3A3B-4C81-B83C-FA0B36160A04}"/>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1765812" y="4332810"/>
              <a:ext cx="305222" cy="20653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26" descr="scikit-learn - Wikipedia">
              <a:extLst>
                <a:ext uri="{FF2B5EF4-FFF2-40B4-BE49-F238E27FC236}">
                  <a16:creationId xmlns:a16="http://schemas.microsoft.com/office/drawing/2014/main" id="{305E906C-1B32-4373-BFD3-9FF0B9626014}"/>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1538448" y="3498853"/>
              <a:ext cx="370265" cy="199326"/>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92">
              <a:extLst>
                <a:ext uri="{FF2B5EF4-FFF2-40B4-BE49-F238E27FC236}">
                  <a16:creationId xmlns:a16="http://schemas.microsoft.com/office/drawing/2014/main" id="{2D3BF027-A4EF-4124-B533-D17A631CA368}"/>
                </a:ext>
              </a:extLst>
            </p:cNvPr>
            <p:cNvPicPr>
              <a:picLocks noChangeAspect="1"/>
            </p:cNvPicPr>
            <p:nvPr/>
          </p:nvPicPr>
          <p:blipFill>
            <a:blip r:embed="rId16"/>
            <a:stretch>
              <a:fillRect/>
            </a:stretch>
          </p:blipFill>
          <p:spPr>
            <a:xfrm>
              <a:off x="10935528" y="3971690"/>
              <a:ext cx="588108" cy="129174"/>
            </a:xfrm>
            <a:prstGeom prst="rect">
              <a:avLst/>
            </a:prstGeom>
          </p:spPr>
        </p:pic>
        <p:pic>
          <p:nvPicPr>
            <p:cNvPr id="94" name="Picture 14">
              <a:extLst>
                <a:ext uri="{FF2B5EF4-FFF2-40B4-BE49-F238E27FC236}">
                  <a16:creationId xmlns:a16="http://schemas.microsoft.com/office/drawing/2014/main" id="{62608D21-0F5F-4C0C-97EF-9DCE34F940DD}"/>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0935528" y="3475883"/>
              <a:ext cx="527476" cy="237365"/>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16" descr="pandas - NumFOCUS">
              <a:extLst>
                <a:ext uri="{FF2B5EF4-FFF2-40B4-BE49-F238E27FC236}">
                  <a16:creationId xmlns:a16="http://schemas.microsoft.com/office/drawing/2014/main" id="{AB3A9CDB-4FE6-481C-9963-9C23DD638B83}"/>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1722007" y="3956304"/>
              <a:ext cx="357764" cy="357764"/>
            </a:xfrm>
            <a:prstGeom prst="rect">
              <a:avLst/>
            </a:prstGeom>
            <a:noFill/>
            <a:extLst>
              <a:ext uri="{909E8E84-426E-40DD-AFC4-6F175D3DCCD1}">
                <a14:hiddenFill xmlns:a14="http://schemas.microsoft.com/office/drawing/2010/main">
                  <a:solidFill>
                    <a:srgbClr val="FFFFFF"/>
                  </a:solidFill>
                </a14:hiddenFill>
              </a:ext>
            </a:extLst>
          </p:spPr>
        </p:pic>
      </p:grpSp>
      <p:sp>
        <p:nvSpPr>
          <p:cNvPr id="99" name="Rectangle: Rounded Corners 98">
            <a:extLst>
              <a:ext uri="{FF2B5EF4-FFF2-40B4-BE49-F238E27FC236}">
                <a16:creationId xmlns:a16="http://schemas.microsoft.com/office/drawing/2014/main" id="{E89B1F43-4C4A-4C9B-A0D9-9D41443365DD}"/>
              </a:ext>
            </a:extLst>
          </p:cNvPr>
          <p:cNvSpPr/>
          <p:nvPr/>
        </p:nvSpPr>
        <p:spPr bwMode="gray">
          <a:xfrm>
            <a:off x="8730049" y="4803068"/>
            <a:ext cx="3340985" cy="233097"/>
          </a:xfrm>
          <a:prstGeom prst="roundRect">
            <a:avLst/>
          </a:prstGeom>
          <a:solidFill>
            <a:schemeClr val="accent5"/>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Learn more about students and their capabilities </a:t>
            </a:r>
            <a:r>
              <a:rPr kumimoji="0" lang="en-US" sz="900" b="1" i="0" u="none" strike="noStrike" kern="1200" cap="none" spc="0" normalizeH="0" baseline="0" noProof="0" dirty="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hlinkClick r:id="rId19">
                  <a:extLst>
                    <a:ext uri="{A12FA001-AC4F-418D-AE19-62706E023703}">
                      <ahyp:hlinkClr xmlns:ahyp="http://schemas.microsoft.com/office/drawing/2018/hyperlinkcolor" val="tx"/>
                    </a:ext>
                  </a:extLst>
                </a:hlinkClick>
              </a:rPr>
              <a:t>here</a:t>
            </a:r>
            <a:endParaRPr kumimoji="0" lang="en-US" sz="700" b="1" i="0" u="none" strike="noStrike" kern="1200" cap="all" spc="0" normalizeH="0" baseline="0" noProof="0" dirty="0">
              <a:ln>
                <a:noFill/>
              </a:ln>
              <a:solidFill>
                <a:srgbClr val="00B0F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786203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543949B-4804-4963-A641-040FEC1A2496}"/>
              </a:ext>
            </a:extLst>
          </p:cNvPr>
          <p:cNvSpPr>
            <a:spLocks noGrp="1"/>
          </p:cNvSpPr>
          <p:nvPr>
            <p:ph type="body" sz="quarter" idx="22"/>
          </p:nvPr>
        </p:nvSpPr>
        <p:spPr>
          <a:xfrm>
            <a:off x="463295" y="682940"/>
            <a:ext cx="11378638" cy="529833"/>
          </a:xfrm>
        </p:spPr>
        <p:txBody>
          <a:bodyPr/>
          <a:lstStyle/>
          <a:p>
            <a:r>
              <a:rPr lang="en-US"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There are many channels to find and staff graduates</a:t>
            </a:r>
          </a:p>
        </p:txBody>
      </p:sp>
      <p:sp>
        <p:nvSpPr>
          <p:cNvPr id="4" name="Title 3">
            <a:extLst>
              <a:ext uri="{FF2B5EF4-FFF2-40B4-BE49-F238E27FC236}">
                <a16:creationId xmlns:a16="http://schemas.microsoft.com/office/drawing/2014/main" id="{DAEE1803-6C46-402C-AB88-B2E0DEFA8E5C}"/>
              </a:ext>
            </a:extLst>
          </p:cNvPr>
          <p:cNvSpPr>
            <a:spLocks noGrp="1"/>
          </p:cNvSpPr>
          <p:nvPr>
            <p:ph type="title"/>
          </p:nvPr>
        </p:nvSpPr>
        <p:spPr/>
        <p:txBody>
          <a:bodyPr/>
          <a:lstStyle/>
          <a:p>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Staffing Graduates</a:t>
            </a:r>
          </a:p>
        </p:txBody>
      </p:sp>
      <p:sp>
        <p:nvSpPr>
          <p:cNvPr id="41" name="Rectangle 40">
            <a:extLst>
              <a:ext uri="{FF2B5EF4-FFF2-40B4-BE49-F238E27FC236}">
                <a16:creationId xmlns:a16="http://schemas.microsoft.com/office/drawing/2014/main" id="{DF88678F-1A25-48BC-A36C-E3205633DFEA}"/>
              </a:ext>
            </a:extLst>
          </p:cNvPr>
          <p:cNvSpPr/>
          <p:nvPr/>
        </p:nvSpPr>
        <p:spPr bwMode="gray">
          <a:xfrm>
            <a:off x="6463794" y="4526968"/>
            <a:ext cx="5200656" cy="559431"/>
          </a:xfrm>
          <a:prstGeom prst="rect">
            <a:avLst/>
          </a:prstGeom>
          <a:solidFill>
            <a:schemeClr val="bg1">
              <a:lumMod val="85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 name="Rectangle 7">
            <a:extLst>
              <a:ext uri="{FF2B5EF4-FFF2-40B4-BE49-F238E27FC236}">
                <a16:creationId xmlns:a16="http://schemas.microsoft.com/office/drawing/2014/main" id="{41095A4F-057E-44BC-9797-861B940AA265}"/>
              </a:ext>
            </a:extLst>
          </p:cNvPr>
          <p:cNvSpPr/>
          <p:nvPr/>
        </p:nvSpPr>
        <p:spPr bwMode="gray">
          <a:xfrm>
            <a:off x="6467260" y="1847888"/>
            <a:ext cx="5197190" cy="559431"/>
          </a:xfrm>
          <a:prstGeom prst="rect">
            <a:avLst/>
          </a:prstGeom>
          <a:solidFill>
            <a:schemeClr val="bg1"/>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8" name="Rectangle 37">
            <a:extLst>
              <a:ext uri="{FF2B5EF4-FFF2-40B4-BE49-F238E27FC236}">
                <a16:creationId xmlns:a16="http://schemas.microsoft.com/office/drawing/2014/main" id="{8113DE6C-96A1-4271-9B11-F5AB94196572}"/>
              </a:ext>
            </a:extLst>
          </p:cNvPr>
          <p:cNvSpPr/>
          <p:nvPr/>
        </p:nvSpPr>
        <p:spPr bwMode="gray">
          <a:xfrm>
            <a:off x="6467260" y="2517658"/>
            <a:ext cx="5197190" cy="559431"/>
          </a:xfrm>
          <a:prstGeom prst="rect">
            <a:avLst/>
          </a:prstGeom>
          <a:solidFill>
            <a:schemeClr val="bg1"/>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9" name="Rectangle 38">
            <a:extLst>
              <a:ext uri="{FF2B5EF4-FFF2-40B4-BE49-F238E27FC236}">
                <a16:creationId xmlns:a16="http://schemas.microsoft.com/office/drawing/2014/main" id="{7302B2EB-EA9E-4C2D-9B49-7822C9F09447}"/>
              </a:ext>
            </a:extLst>
          </p:cNvPr>
          <p:cNvSpPr/>
          <p:nvPr/>
        </p:nvSpPr>
        <p:spPr bwMode="gray">
          <a:xfrm>
            <a:off x="6467260" y="3187428"/>
            <a:ext cx="5197190" cy="559431"/>
          </a:xfrm>
          <a:prstGeom prst="rect">
            <a:avLst/>
          </a:prstGeom>
          <a:no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0" name="Rectangle 39">
            <a:extLst>
              <a:ext uri="{FF2B5EF4-FFF2-40B4-BE49-F238E27FC236}">
                <a16:creationId xmlns:a16="http://schemas.microsoft.com/office/drawing/2014/main" id="{962BD062-FD6D-451C-963B-84863E3B0374}"/>
              </a:ext>
            </a:extLst>
          </p:cNvPr>
          <p:cNvSpPr/>
          <p:nvPr/>
        </p:nvSpPr>
        <p:spPr bwMode="gray">
          <a:xfrm>
            <a:off x="6463794" y="3857198"/>
            <a:ext cx="5200656" cy="559431"/>
          </a:xfrm>
          <a:prstGeom prst="rect">
            <a:avLst/>
          </a:prstGeom>
          <a:no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Rectangle 41">
            <a:extLst>
              <a:ext uri="{FF2B5EF4-FFF2-40B4-BE49-F238E27FC236}">
                <a16:creationId xmlns:a16="http://schemas.microsoft.com/office/drawing/2014/main" id="{C5E2CAF9-4331-4757-AD5F-396E67B5C4C6}"/>
              </a:ext>
            </a:extLst>
          </p:cNvPr>
          <p:cNvSpPr/>
          <p:nvPr/>
        </p:nvSpPr>
        <p:spPr bwMode="gray">
          <a:xfrm>
            <a:off x="6463792" y="5196740"/>
            <a:ext cx="5200657" cy="559431"/>
          </a:xfrm>
          <a:prstGeom prst="rect">
            <a:avLst/>
          </a:prstGeom>
          <a:solidFill>
            <a:schemeClr val="bg1">
              <a:lumMod val="85000"/>
            </a:schemeClr>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i="1" dirty="0">
              <a:solidFill>
                <a:schemeClr val="bg1"/>
              </a:solidFill>
            </a:endParaRPr>
          </a:p>
        </p:txBody>
      </p:sp>
      <p:sp>
        <p:nvSpPr>
          <p:cNvPr id="15" name="Freeform 611">
            <a:extLst>
              <a:ext uri="{FF2B5EF4-FFF2-40B4-BE49-F238E27FC236}">
                <a16:creationId xmlns:a16="http://schemas.microsoft.com/office/drawing/2014/main" id="{A844C469-0FDF-4712-98F7-74DBEACFB549}"/>
              </a:ext>
            </a:extLst>
          </p:cNvPr>
          <p:cNvSpPr>
            <a:spLocks noEditPoints="1"/>
          </p:cNvSpPr>
          <p:nvPr/>
        </p:nvSpPr>
        <p:spPr bwMode="auto">
          <a:xfrm>
            <a:off x="6646329" y="3278017"/>
            <a:ext cx="375067" cy="37506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050"/>
          </a:p>
        </p:txBody>
      </p:sp>
      <p:grpSp>
        <p:nvGrpSpPr>
          <p:cNvPr id="17" name="Group 681">
            <a:extLst>
              <a:ext uri="{FF2B5EF4-FFF2-40B4-BE49-F238E27FC236}">
                <a16:creationId xmlns:a16="http://schemas.microsoft.com/office/drawing/2014/main" id="{47F1FEA9-B8C3-48F7-BC83-60615E329738}"/>
              </a:ext>
            </a:extLst>
          </p:cNvPr>
          <p:cNvGrpSpPr>
            <a:grpSpLocks/>
          </p:cNvGrpSpPr>
          <p:nvPr/>
        </p:nvGrpSpPr>
        <p:grpSpPr bwMode="auto">
          <a:xfrm>
            <a:off x="6646328" y="4619149"/>
            <a:ext cx="375069" cy="375067"/>
            <a:chOff x="6210" y="2696"/>
            <a:chExt cx="340" cy="340"/>
          </a:xfrm>
          <a:solidFill>
            <a:schemeClr val="accent2"/>
          </a:solidFill>
        </p:grpSpPr>
        <p:sp>
          <p:nvSpPr>
            <p:cNvPr id="18" name="Freeform 682">
              <a:extLst>
                <a:ext uri="{FF2B5EF4-FFF2-40B4-BE49-F238E27FC236}">
                  <a16:creationId xmlns:a16="http://schemas.microsoft.com/office/drawing/2014/main" id="{D991E6A2-9035-4639-988A-DF1C125CFA80}"/>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19" name="Freeform 683">
              <a:extLst>
                <a:ext uri="{FF2B5EF4-FFF2-40B4-BE49-F238E27FC236}">
                  <a16:creationId xmlns:a16="http://schemas.microsoft.com/office/drawing/2014/main" id="{2732A932-F927-465B-9B07-496F1943E758}"/>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20" name="Oval 684">
              <a:extLst>
                <a:ext uri="{FF2B5EF4-FFF2-40B4-BE49-F238E27FC236}">
                  <a16:creationId xmlns:a16="http://schemas.microsoft.com/office/drawing/2014/main" id="{1EEE7CAB-0C2B-4DFF-95A4-C49685B0E7E7}"/>
                </a:ext>
              </a:extLst>
            </p:cNvPr>
            <p:cNvSpPr>
              <a:spLocks noChangeArrowheads="1"/>
            </p:cNvSpPr>
            <p:nvPr/>
          </p:nvSpPr>
          <p:spPr bwMode="auto">
            <a:xfrm>
              <a:off x="6359" y="2816"/>
              <a:ext cx="42" cy="4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21" name="Freeform 685">
              <a:extLst>
                <a:ext uri="{FF2B5EF4-FFF2-40B4-BE49-F238E27FC236}">
                  <a16:creationId xmlns:a16="http://schemas.microsoft.com/office/drawing/2014/main" id="{AB0C36CD-DC07-45C2-95BA-7F4760B8247E}"/>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
        <p:nvSpPr>
          <p:cNvPr id="24" name="Freeform 929">
            <a:extLst>
              <a:ext uri="{FF2B5EF4-FFF2-40B4-BE49-F238E27FC236}">
                <a16:creationId xmlns:a16="http://schemas.microsoft.com/office/drawing/2014/main" id="{A09C761F-1973-495F-9D5B-AE20B640D968}"/>
              </a:ext>
            </a:extLst>
          </p:cNvPr>
          <p:cNvSpPr>
            <a:spLocks noEditPoints="1"/>
          </p:cNvSpPr>
          <p:nvPr/>
        </p:nvSpPr>
        <p:spPr bwMode="auto">
          <a:xfrm>
            <a:off x="6646329" y="3951925"/>
            <a:ext cx="375066" cy="375067"/>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27" name="Freeform 611">
            <a:extLst>
              <a:ext uri="{FF2B5EF4-FFF2-40B4-BE49-F238E27FC236}">
                <a16:creationId xmlns:a16="http://schemas.microsoft.com/office/drawing/2014/main" id="{43224C18-DC20-4AE5-959F-E872A4E0C7A8}"/>
              </a:ext>
            </a:extLst>
          </p:cNvPr>
          <p:cNvSpPr>
            <a:spLocks noEditPoints="1"/>
          </p:cNvSpPr>
          <p:nvPr/>
        </p:nvSpPr>
        <p:spPr bwMode="auto">
          <a:xfrm>
            <a:off x="6646329" y="2604006"/>
            <a:ext cx="375067" cy="37506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050"/>
          </a:p>
        </p:txBody>
      </p:sp>
      <p:sp>
        <p:nvSpPr>
          <p:cNvPr id="29" name="Freeform 611">
            <a:extLst>
              <a:ext uri="{FF2B5EF4-FFF2-40B4-BE49-F238E27FC236}">
                <a16:creationId xmlns:a16="http://schemas.microsoft.com/office/drawing/2014/main" id="{108BCCA0-00D4-4C11-84BB-28E56C45AD62}"/>
              </a:ext>
            </a:extLst>
          </p:cNvPr>
          <p:cNvSpPr>
            <a:spLocks noEditPoints="1"/>
          </p:cNvSpPr>
          <p:nvPr/>
        </p:nvSpPr>
        <p:spPr bwMode="auto">
          <a:xfrm>
            <a:off x="6646329" y="1937776"/>
            <a:ext cx="375067" cy="37506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050"/>
          </a:p>
        </p:txBody>
      </p:sp>
      <p:grpSp>
        <p:nvGrpSpPr>
          <p:cNvPr id="32" name="Group 681">
            <a:extLst>
              <a:ext uri="{FF2B5EF4-FFF2-40B4-BE49-F238E27FC236}">
                <a16:creationId xmlns:a16="http://schemas.microsoft.com/office/drawing/2014/main" id="{F923370E-2ABB-4A2A-B454-E7A1FAE0D4C2}"/>
              </a:ext>
            </a:extLst>
          </p:cNvPr>
          <p:cNvGrpSpPr>
            <a:grpSpLocks/>
          </p:cNvGrpSpPr>
          <p:nvPr/>
        </p:nvGrpSpPr>
        <p:grpSpPr bwMode="auto">
          <a:xfrm>
            <a:off x="6646328" y="5296111"/>
            <a:ext cx="375068" cy="375067"/>
            <a:chOff x="6210" y="2696"/>
            <a:chExt cx="340" cy="340"/>
          </a:xfrm>
          <a:solidFill>
            <a:schemeClr val="accent2"/>
          </a:solidFill>
        </p:grpSpPr>
        <p:sp>
          <p:nvSpPr>
            <p:cNvPr id="33" name="Freeform 682">
              <a:extLst>
                <a:ext uri="{FF2B5EF4-FFF2-40B4-BE49-F238E27FC236}">
                  <a16:creationId xmlns:a16="http://schemas.microsoft.com/office/drawing/2014/main" id="{777F432F-1CD8-416D-8EA6-1B58CD0F7FF9}"/>
                </a:ext>
              </a:extLst>
            </p:cNvPr>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34" name="Freeform 683">
              <a:extLst>
                <a:ext uri="{FF2B5EF4-FFF2-40B4-BE49-F238E27FC236}">
                  <a16:creationId xmlns:a16="http://schemas.microsoft.com/office/drawing/2014/main" id="{A891AD64-3883-4CBC-94FD-6B08B397C435}"/>
                </a:ext>
              </a:extLst>
            </p:cNvPr>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35" name="Oval 684">
              <a:extLst>
                <a:ext uri="{FF2B5EF4-FFF2-40B4-BE49-F238E27FC236}">
                  <a16:creationId xmlns:a16="http://schemas.microsoft.com/office/drawing/2014/main" id="{F92CD173-77B0-4E80-8962-AADC5363EE93}"/>
                </a:ext>
              </a:extLst>
            </p:cNvPr>
            <p:cNvSpPr>
              <a:spLocks noChangeArrowheads="1"/>
            </p:cNvSpPr>
            <p:nvPr/>
          </p:nvSpPr>
          <p:spPr bwMode="auto">
            <a:xfrm>
              <a:off x="6359" y="2816"/>
              <a:ext cx="42" cy="4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36" name="Freeform 685">
              <a:extLst>
                <a:ext uri="{FF2B5EF4-FFF2-40B4-BE49-F238E27FC236}">
                  <a16:creationId xmlns:a16="http://schemas.microsoft.com/office/drawing/2014/main" id="{C9E5F6A6-2018-4F94-A7BA-FE04EC58102A}"/>
                </a:ext>
              </a:extLst>
            </p:cNvPr>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grpSp>
      <p:sp>
        <p:nvSpPr>
          <p:cNvPr id="14" name="Rectangle 13">
            <a:extLst>
              <a:ext uri="{FF2B5EF4-FFF2-40B4-BE49-F238E27FC236}">
                <a16:creationId xmlns:a16="http://schemas.microsoft.com/office/drawing/2014/main" id="{0A60BC5F-BCB5-4B3F-8EC4-399FE0251FFB}"/>
              </a:ext>
            </a:extLst>
          </p:cNvPr>
          <p:cNvSpPr/>
          <p:nvPr/>
        </p:nvSpPr>
        <p:spPr bwMode="gray">
          <a:xfrm>
            <a:off x="6463794" y="1212773"/>
            <a:ext cx="5197190" cy="449386"/>
          </a:xfrm>
          <a:prstGeom prst="rect">
            <a:avLst/>
          </a:prstGeom>
          <a:solidFill>
            <a:schemeClr val="accent2">
              <a:lumMod val="20000"/>
              <a:lumOff val="80000"/>
            </a:schemeClr>
          </a:solidFill>
          <a:ln>
            <a:solidFill>
              <a:schemeClr val="accent4"/>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200" b="1" dirty="0">
                <a:solidFill>
                  <a:schemeClr val="tx1"/>
                </a:solidFill>
                <a:latin typeface="Open Sans" panose="020B0606030504020204" pitchFamily="34" charset="0"/>
                <a:ea typeface="Open Sans" panose="020B0606030504020204" pitchFamily="34" charset="0"/>
                <a:cs typeface="Open Sans" panose="020B0606030504020204" pitchFamily="34" charset="0"/>
              </a:rPr>
              <a:t>Multiple channels are available for finding graduates</a:t>
            </a:r>
          </a:p>
        </p:txBody>
      </p:sp>
      <p:sp>
        <p:nvSpPr>
          <p:cNvPr id="44" name="TextBox 43">
            <a:extLst>
              <a:ext uri="{FF2B5EF4-FFF2-40B4-BE49-F238E27FC236}">
                <a16:creationId xmlns:a16="http://schemas.microsoft.com/office/drawing/2014/main" id="{0881C4E8-A086-4ABA-B816-1715F9B574F3}"/>
              </a:ext>
            </a:extLst>
          </p:cNvPr>
          <p:cNvSpPr txBox="1"/>
          <p:nvPr/>
        </p:nvSpPr>
        <p:spPr>
          <a:xfrm>
            <a:off x="7021395" y="1887968"/>
            <a:ext cx="4639589" cy="474682"/>
          </a:xfrm>
          <a:prstGeom prst="rect">
            <a:avLst/>
          </a:prstGeom>
          <a:noFill/>
        </p:spPr>
        <p:txBody>
          <a:bodyPr wrap="square" anchor="ctr">
            <a:spAutoFit/>
          </a:bodyPr>
          <a:lstStyle/>
          <a:p>
            <a:pPr algn="ctr">
              <a:lnSpc>
                <a:spcPct val="106000"/>
              </a:lnSpc>
              <a:buFont typeface="Wingdings 2" pitchFamily="18" charset="2"/>
              <a:buNone/>
            </a:pPr>
            <a:r>
              <a:rPr lang="en-US" sz="1200" b="1" dirty="0">
                <a:latin typeface="Open Sans" panose="020B0606030504020204" pitchFamily="34" charset="0"/>
                <a:ea typeface="Open Sans" panose="020B0606030504020204" pitchFamily="34" charset="0"/>
                <a:cs typeface="Open Sans" panose="020B0606030504020204" pitchFamily="34" charset="0"/>
              </a:rPr>
              <a:t>Engage a Graduate Directly</a:t>
            </a:r>
            <a:endParaRPr lang="en-US" sz="1200"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algn="ctr">
              <a:lnSpc>
                <a:spcPct val="106000"/>
              </a:lnSpc>
              <a:buFont typeface="Wingdings 2" pitchFamily="18" charset="2"/>
              <a:buNone/>
            </a:pPr>
            <a:r>
              <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3"/>
              </a:rPr>
              <a:t>Click Here for Graduating Roster</a:t>
            </a:r>
            <a:endParaRPr lang="en-US" sz="1200" dirty="0">
              <a:solidFill>
                <a:schemeClr val="tx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p:txBody>
      </p:sp>
      <p:sp>
        <p:nvSpPr>
          <p:cNvPr id="45" name="TextBox 44">
            <a:extLst>
              <a:ext uri="{FF2B5EF4-FFF2-40B4-BE49-F238E27FC236}">
                <a16:creationId xmlns:a16="http://schemas.microsoft.com/office/drawing/2014/main" id="{C45F7309-64B9-48BC-917F-AA0067F67B2B}"/>
              </a:ext>
            </a:extLst>
          </p:cNvPr>
          <p:cNvSpPr txBox="1"/>
          <p:nvPr/>
        </p:nvSpPr>
        <p:spPr>
          <a:xfrm>
            <a:off x="7030775" y="2563415"/>
            <a:ext cx="4639589" cy="474682"/>
          </a:xfrm>
          <a:prstGeom prst="rect">
            <a:avLst/>
          </a:prstGeom>
          <a:noFill/>
        </p:spPr>
        <p:txBody>
          <a:bodyPr wrap="square" anchor="ctr">
            <a:spAutoFit/>
          </a:bodyPr>
          <a:lstStyle/>
          <a:p>
            <a:pPr algn="ctr">
              <a:lnSpc>
                <a:spcPct val="106000"/>
              </a:lnSpc>
              <a:buFont typeface="Wingdings 2" pitchFamily="18" charset="2"/>
              <a:buNone/>
            </a:pPr>
            <a:r>
              <a:rPr lang="en-US" sz="1200" b="1" dirty="0">
                <a:solidFill>
                  <a:schemeClr val="tx1"/>
                </a:solidFill>
                <a:latin typeface="Open Sans" panose="020B0606030504020204" pitchFamily="34" charset="0"/>
                <a:ea typeface="Open Sans" panose="020B0606030504020204" pitchFamily="34" charset="0"/>
                <a:cs typeface="Open Sans" panose="020B0606030504020204" pitchFamily="34" charset="0"/>
              </a:rPr>
              <a:t>Reach out to Deloitte AI Academy Leads</a:t>
            </a:r>
          </a:p>
          <a:p>
            <a:pPr algn="ctr">
              <a:lnSpc>
                <a:spcPct val="106000"/>
              </a:lnSpc>
              <a:buFont typeface="Wingdings 2" pitchFamily="18" charset="2"/>
              <a:buNone/>
            </a:pPr>
            <a:r>
              <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4"/>
              </a:rPr>
              <a:t>Sanghamitra Pati </a:t>
            </a:r>
            <a:r>
              <a:rPr lang="en-US" sz="1200" dirty="0">
                <a:latin typeface="Open Sans" panose="020B0606030504020204" pitchFamily="34" charset="0"/>
                <a:ea typeface="Open Sans" panose="020B0606030504020204" pitchFamily="34" charset="0"/>
                <a:cs typeface="Open Sans" panose="020B0606030504020204" pitchFamily="34" charset="0"/>
                <a:hlinkClick r:id="rId4"/>
              </a:rPr>
              <a:t>and</a:t>
            </a:r>
            <a:r>
              <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4"/>
              </a:rPr>
              <a:t> Giri Chandramohan</a:t>
            </a:r>
            <a:endPar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TextBox 45">
            <a:extLst>
              <a:ext uri="{FF2B5EF4-FFF2-40B4-BE49-F238E27FC236}">
                <a16:creationId xmlns:a16="http://schemas.microsoft.com/office/drawing/2014/main" id="{F77C992E-6E5A-4F89-B7EC-5E749691626F}"/>
              </a:ext>
            </a:extLst>
          </p:cNvPr>
          <p:cNvSpPr txBox="1"/>
          <p:nvPr/>
        </p:nvSpPr>
        <p:spPr>
          <a:xfrm>
            <a:off x="7030775" y="3336741"/>
            <a:ext cx="4639589" cy="278923"/>
          </a:xfrm>
          <a:prstGeom prst="rect">
            <a:avLst/>
          </a:prstGeom>
          <a:noFill/>
        </p:spPr>
        <p:txBody>
          <a:bodyPr wrap="square" anchor="ctr">
            <a:spAutoFit/>
          </a:bodyPr>
          <a:lstStyle/>
          <a:p>
            <a:pPr algn="ctr">
              <a:lnSpc>
                <a:spcPct val="106000"/>
              </a:lnSpc>
              <a:buFont typeface="Wingdings 2" pitchFamily="18" charset="2"/>
              <a:buNone/>
            </a:pPr>
            <a:r>
              <a:rPr lang="en-US" sz="1200" b="1" dirty="0">
                <a:solidFill>
                  <a:schemeClr val="tx1"/>
                </a:solidFill>
                <a:latin typeface="Open Sans" panose="020B0606030504020204" pitchFamily="34" charset="0"/>
                <a:ea typeface="Open Sans" panose="020B0606030504020204" pitchFamily="34" charset="0"/>
                <a:cs typeface="Open Sans" panose="020B0606030504020204" pitchFamily="34" charset="0"/>
              </a:rPr>
              <a:t>Reach out to your FSS Resource Managers</a:t>
            </a:r>
          </a:p>
        </p:txBody>
      </p:sp>
      <p:sp>
        <p:nvSpPr>
          <p:cNvPr id="47" name="TextBox 46">
            <a:extLst>
              <a:ext uri="{FF2B5EF4-FFF2-40B4-BE49-F238E27FC236}">
                <a16:creationId xmlns:a16="http://schemas.microsoft.com/office/drawing/2014/main" id="{65EA3137-BF46-412A-8AA1-836125DF8846}"/>
              </a:ext>
            </a:extLst>
          </p:cNvPr>
          <p:cNvSpPr txBox="1"/>
          <p:nvPr/>
        </p:nvSpPr>
        <p:spPr>
          <a:xfrm>
            <a:off x="7092583" y="3897046"/>
            <a:ext cx="4639589" cy="474682"/>
          </a:xfrm>
          <a:prstGeom prst="rect">
            <a:avLst/>
          </a:prstGeom>
          <a:noFill/>
        </p:spPr>
        <p:txBody>
          <a:bodyPr wrap="square" anchor="ctr">
            <a:spAutoFit/>
          </a:bodyPr>
          <a:lstStyle/>
          <a:p>
            <a:pPr algn="ctr">
              <a:lnSpc>
                <a:spcPct val="106000"/>
              </a:lnSpc>
              <a:buFont typeface="Wingdings 2" pitchFamily="18" charset="2"/>
              <a:buNone/>
            </a:pPr>
            <a:r>
              <a:rPr lang="en-US" sz="1200" b="1" i="1" dirty="0">
                <a:solidFill>
                  <a:schemeClr val="bg2">
                    <a:lumMod val="50000"/>
                  </a:schemeClr>
                </a:solidFill>
                <a:latin typeface="Open Sans" panose="020B0606030504020204" pitchFamily="34" charset="0"/>
                <a:ea typeface="Open Sans" panose="020B0606030504020204" pitchFamily="34" charset="0"/>
                <a:cs typeface="Open Sans" panose="020B0606030504020204" pitchFamily="34" charset="0"/>
              </a:rPr>
              <a:t>Search the Deloitte AI Academy Certification on </a:t>
            </a:r>
            <a:r>
              <a:rPr lang="en-US" sz="1200" b="1" i="1" dirty="0" err="1">
                <a:solidFill>
                  <a:schemeClr val="bg2">
                    <a:lumMod val="50000"/>
                  </a:schemeClr>
                </a:solidFill>
                <a:latin typeface="Open Sans" panose="020B0606030504020204" pitchFamily="34" charset="0"/>
                <a:ea typeface="Open Sans" panose="020B0606030504020204" pitchFamily="34" charset="0"/>
                <a:cs typeface="Open Sans" panose="020B0606030504020204" pitchFamily="34" charset="0"/>
              </a:rPr>
              <a:t>ToD</a:t>
            </a:r>
            <a:endParaRPr lang="en-US" sz="1200" b="1" i="1" dirty="0">
              <a:solidFill>
                <a:schemeClr val="bg2">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algn="ctr">
              <a:lnSpc>
                <a:spcPct val="106000"/>
              </a:lnSpc>
            </a:pPr>
            <a:r>
              <a:rPr lang="en-US" sz="1200" dirty="0">
                <a:solidFill>
                  <a:srgbClr val="FF0000"/>
                </a:solidFill>
                <a:latin typeface="Open Sans" panose="020B0606030504020204" pitchFamily="34" charset="0"/>
                <a:ea typeface="Open Sans" panose="020B0606030504020204" pitchFamily="34" charset="0"/>
                <a:cs typeface="Open Sans" panose="020B0606030504020204" pitchFamily="34" charset="0"/>
                <a:hlinkClick r:id="rId5"/>
              </a:rPr>
              <a:t>Click Here</a:t>
            </a:r>
            <a:endParaRPr lang="en-US" sz="1200" dirty="0">
              <a:solidFill>
                <a:srgbClr val="FF0000"/>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p:txBody>
      </p:sp>
      <p:sp>
        <p:nvSpPr>
          <p:cNvPr id="48" name="TextBox 47">
            <a:extLst>
              <a:ext uri="{FF2B5EF4-FFF2-40B4-BE49-F238E27FC236}">
                <a16:creationId xmlns:a16="http://schemas.microsoft.com/office/drawing/2014/main" id="{867F05A7-C47F-4597-94A1-96DF0AAF0651}"/>
              </a:ext>
            </a:extLst>
          </p:cNvPr>
          <p:cNvSpPr txBox="1"/>
          <p:nvPr/>
        </p:nvSpPr>
        <p:spPr>
          <a:xfrm>
            <a:off x="7063378" y="4570471"/>
            <a:ext cx="4639589" cy="474682"/>
          </a:xfrm>
          <a:prstGeom prst="rect">
            <a:avLst/>
          </a:prstGeom>
          <a:noFill/>
        </p:spPr>
        <p:txBody>
          <a:bodyPr wrap="square" anchor="ctr">
            <a:spAutoFit/>
          </a:bodyPr>
          <a:lstStyle/>
          <a:p>
            <a:pPr algn="ctr">
              <a:lnSpc>
                <a:spcPct val="106000"/>
              </a:lnSpc>
              <a:buFont typeface="Wingdings 2" pitchFamily="18" charset="2"/>
              <a:buNone/>
            </a:pPr>
            <a:r>
              <a:rPr lang="en-US" sz="1200" b="1" i="1" dirty="0">
                <a:solidFill>
                  <a:schemeClr val="bg2">
                    <a:lumMod val="50000"/>
                  </a:schemeClr>
                </a:solidFill>
                <a:latin typeface="Open Sans" panose="020B0606030504020204" pitchFamily="34" charset="0"/>
                <a:ea typeface="Open Sans" panose="020B0606030504020204" pitchFamily="34" charset="0"/>
                <a:cs typeface="Open Sans" panose="020B0606030504020204" pitchFamily="34" charset="0"/>
              </a:rPr>
              <a:t>Search the Deloitte AI Academy Badge on DPN</a:t>
            </a:r>
          </a:p>
          <a:p>
            <a:pPr algn="ctr">
              <a:lnSpc>
                <a:spcPct val="106000"/>
              </a:lnSpc>
            </a:pPr>
            <a:r>
              <a:rPr lang="en-US" sz="1200" b="1" i="1" dirty="0">
                <a:solidFill>
                  <a:srgbClr val="FF0000"/>
                </a:solidFill>
                <a:latin typeface="Open Sans" panose="020B0606030504020204" pitchFamily="34" charset="0"/>
                <a:ea typeface="Open Sans" panose="020B0606030504020204" pitchFamily="34" charset="0"/>
                <a:cs typeface="Open Sans" panose="020B0606030504020204" pitchFamily="34" charset="0"/>
              </a:rPr>
              <a:t>Coming Soon</a:t>
            </a:r>
            <a:endParaRPr lang="en-US" sz="1200" b="1" i="1" dirty="0">
              <a:solidFill>
                <a:srgbClr val="FF0000"/>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p:txBody>
      </p:sp>
      <p:sp>
        <p:nvSpPr>
          <p:cNvPr id="49" name="TextBox 48">
            <a:extLst>
              <a:ext uri="{FF2B5EF4-FFF2-40B4-BE49-F238E27FC236}">
                <a16:creationId xmlns:a16="http://schemas.microsoft.com/office/drawing/2014/main" id="{EC362E9C-0ECB-44E6-893F-47ACFAF02C7F}"/>
              </a:ext>
            </a:extLst>
          </p:cNvPr>
          <p:cNvSpPr txBox="1"/>
          <p:nvPr/>
        </p:nvSpPr>
        <p:spPr>
          <a:xfrm>
            <a:off x="7082224" y="5217370"/>
            <a:ext cx="4639589" cy="474682"/>
          </a:xfrm>
          <a:prstGeom prst="rect">
            <a:avLst/>
          </a:prstGeom>
          <a:noFill/>
        </p:spPr>
        <p:txBody>
          <a:bodyPr wrap="square" anchor="ctr">
            <a:spAutoFit/>
          </a:bodyPr>
          <a:lstStyle/>
          <a:p>
            <a:pPr algn="ctr">
              <a:lnSpc>
                <a:spcPct val="106000"/>
              </a:lnSpc>
              <a:buFont typeface="Wingdings 2" pitchFamily="18" charset="2"/>
              <a:buNone/>
            </a:pPr>
            <a:r>
              <a:rPr lang="en-US" sz="1200" b="1" i="1" dirty="0">
                <a:solidFill>
                  <a:schemeClr val="bg2">
                    <a:lumMod val="50000"/>
                  </a:schemeClr>
                </a:solidFill>
                <a:latin typeface="Open Sans" panose="020B0606030504020204" pitchFamily="34" charset="0"/>
                <a:ea typeface="Open Sans" panose="020B0606030504020204" pitchFamily="34" charset="0"/>
                <a:cs typeface="Open Sans" panose="020B0606030504020204" pitchFamily="34" charset="0"/>
              </a:rPr>
              <a:t>Search </a:t>
            </a:r>
            <a:r>
              <a:rPr lang="en-US" sz="1200" b="1" i="1" dirty="0" err="1">
                <a:solidFill>
                  <a:schemeClr val="bg2">
                    <a:lumMod val="50000"/>
                  </a:schemeClr>
                </a:solidFill>
                <a:latin typeface="Open Sans" panose="020B0606030504020204" pitchFamily="34" charset="0"/>
                <a:ea typeface="Open Sans" panose="020B0606030504020204" pitchFamily="34" charset="0"/>
                <a:cs typeface="Open Sans" panose="020B0606030504020204" pitchFamily="34" charset="0"/>
              </a:rPr>
              <a:t>StaffIT</a:t>
            </a:r>
            <a:r>
              <a:rPr lang="en-US" sz="1200" b="1" i="1" dirty="0">
                <a:solidFill>
                  <a:schemeClr val="bg2">
                    <a:lumMod val="50000"/>
                  </a:schemeClr>
                </a:solidFill>
                <a:latin typeface="Open Sans" panose="020B0606030504020204" pitchFamily="34" charset="0"/>
                <a:ea typeface="Open Sans" panose="020B0606030504020204" pitchFamily="34" charset="0"/>
                <a:cs typeface="Open Sans" panose="020B0606030504020204" pitchFamily="34" charset="0"/>
              </a:rPr>
              <a:t> Skills for Relevant Deloitte AI Academy Skills</a:t>
            </a:r>
          </a:p>
          <a:p>
            <a:pPr algn="ctr">
              <a:lnSpc>
                <a:spcPct val="106000"/>
              </a:lnSpc>
            </a:pPr>
            <a:r>
              <a:rPr lang="en-US" sz="1200" b="1" i="1" dirty="0">
                <a:solidFill>
                  <a:srgbClr val="FF0000"/>
                </a:solidFill>
                <a:latin typeface="Open Sans" panose="020B0606030504020204" pitchFamily="34" charset="0"/>
                <a:ea typeface="Open Sans" panose="020B0606030504020204" pitchFamily="34" charset="0"/>
                <a:cs typeface="Open Sans" panose="020B0606030504020204" pitchFamily="34" charset="0"/>
              </a:rPr>
              <a:t>Coming Soon</a:t>
            </a:r>
            <a:endParaRPr lang="en-US" sz="1200" b="1" i="1" dirty="0">
              <a:solidFill>
                <a:srgbClr val="FF0000"/>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p:txBody>
      </p:sp>
      <p:sp>
        <p:nvSpPr>
          <p:cNvPr id="51" name="Rectangle 50">
            <a:extLst>
              <a:ext uri="{FF2B5EF4-FFF2-40B4-BE49-F238E27FC236}">
                <a16:creationId xmlns:a16="http://schemas.microsoft.com/office/drawing/2014/main" id="{B814E067-BA83-4C67-A3C6-05A62ABFAEFE}"/>
              </a:ext>
            </a:extLst>
          </p:cNvPr>
          <p:cNvSpPr/>
          <p:nvPr/>
        </p:nvSpPr>
        <p:spPr bwMode="gray">
          <a:xfrm>
            <a:off x="576521" y="5908714"/>
            <a:ext cx="11084463" cy="474682"/>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The Deloitte AI Academy is a premium certification program where practitioners are deployed at standardized rate.</a:t>
            </a:r>
            <a:endParaRPr lang="en-US" sz="1400" b="1" dirty="0">
              <a:solidFill>
                <a:srgbClr val="DA291C"/>
              </a:solidFill>
              <a:highlight>
                <a:srgbClr val="FFFF00"/>
              </a:highlight>
              <a:latin typeface="Open Sans Light" panose="020B0306030504020204" pitchFamily="34" charset="0"/>
              <a:ea typeface="Open Sans Light" panose="020B0306030504020204" pitchFamily="34" charset="0"/>
              <a:cs typeface="Open Sans Light" panose="020B0306030504020204" pitchFamily="34" charset="0"/>
            </a:endParaRPr>
          </a:p>
        </p:txBody>
      </p:sp>
      <p:graphicFrame>
        <p:nvGraphicFramePr>
          <p:cNvPr id="37" name="Table 15">
            <a:extLst>
              <a:ext uri="{FF2B5EF4-FFF2-40B4-BE49-F238E27FC236}">
                <a16:creationId xmlns:a16="http://schemas.microsoft.com/office/drawing/2014/main" id="{85145DED-84D8-44DA-98B0-9FD48419134B}"/>
              </a:ext>
            </a:extLst>
          </p:cNvPr>
          <p:cNvGraphicFramePr>
            <a:graphicFrameLocks noGrp="1"/>
          </p:cNvGraphicFramePr>
          <p:nvPr>
            <p:extLst>
              <p:ext uri="{D42A27DB-BD31-4B8C-83A1-F6EECF244321}">
                <p14:modId xmlns:p14="http://schemas.microsoft.com/office/powerpoint/2010/main" val="3576377948"/>
              </p:ext>
            </p:extLst>
          </p:nvPr>
        </p:nvGraphicFramePr>
        <p:xfrm>
          <a:off x="576522" y="1212773"/>
          <a:ext cx="5151686" cy="4543409"/>
        </p:xfrm>
        <a:graphic>
          <a:graphicData uri="http://schemas.openxmlformats.org/drawingml/2006/table">
            <a:tbl>
              <a:tblPr firstRow="1" bandRow="1">
                <a:tableStyleId>{073A0DAA-6AF3-43AB-8588-CEC1D06C72B9}</a:tableStyleId>
              </a:tblPr>
              <a:tblGrid>
                <a:gridCol w="3889815">
                  <a:extLst>
                    <a:ext uri="{9D8B030D-6E8A-4147-A177-3AD203B41FA5}">
                      <a16:colId xmlns:a16="http://schemas.microsoft.com/office/drawing/2014/main" val="1494736298"/>
                    </a:ext>
                  </a:extLst>
                </a:gridCol>
                <a:gridCol w="1261871">
                  <a:extLst>
                    <a:ext uri="{9D8B030D-6E8A-4147-A177-3AD203B41FA5}">
                      <a16:colId xmlns:a16="http://schemas.microsoft.com/office/drawing/2014/main" val="166307814"/>
                    </a:ext>
                  </a:extLst>
                </a:gridCol>
              </a:tblGrid>
              <a:tr h="366614">
                <a:tc>
                  <a:txBody>
                    <a:bodyPr/>
                    <a:lstStyle/>
                    <a:p>
                      <a:pPr marL="91440" algn="l" fontAlgn="b"/>
                      <a:r>
                        <a:rPr lang="en-US" sz="1200" b="1" u="none" strike="noStrike"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FSS</a:t>
                      </a:r>
                      <a:endParaRPr lang="en-US" sz="1200" b="1" i="0" u="none" strike="noStrike" dirty="0">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B w="6350" cap="flat" cmpd="sng" algn="ctr">
                      <a:solidFill>
                        <a:schemeClr val="bg1">
                          <a:lumMod val="85000"/>
                        </a:schemeClr>
                      </a:solidFill>
                      <a:prstDash val="solid"/>
                      <a:round/>
                      <a:headEnd type="none" w="med" len="med"/>
                      <a:tailEnd type="none" w="med" len="med"/>
                    </a:lnB>
                  </a:tcPr>
                </a:tc>
                <a:tc>
                  <a:txBody>
                    <a:bodyPr/>
                    <a:lstStyle/>
                    <a:p>
                      <a:pPr algn="ctr" fontAlgn="b"/>
                      <a:r>
                        <a:rPr lang="en-US" sz="1200" b="1" u="none" strike="noStrike"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Students</a:t>
                      </a:r>
                      <a:endParaRPr lang="en-US" sz="1200" b="1" i="0" u="none" strike="noStrike" dirty="0">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B w="635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95011082"/>
                  </a:ext>
                </a:extLst>
              </a:tr>
              <a:tr h="278453">
                <a:tc>
                  <a:txBody>
                    <a:bodyPr/>
                    <a:lstStyle/>
                    <a:p>
                      <a:pPr marL="91440" algn="l" fontAlgn="b"/>
                      <a:r>
                        <a:rPr lang="en-US" sz="12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onsulting</a:t>
                      </a:r>
                      <a:endParaRPr lang="en-US" sz="12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b"/>
                      <a:r>
                        <a:rPr lang="en-US" sz="12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69</a:t>
                      </a:r>
                      <a:endParaRPr lang="en-US" sz="12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943117649"/>
                  </a:ext>
                </a:extLst>
              </a:tr>
              <a:tr h="278453">
                <a:tc>
                  <a:txBody>
                    <a:bodyPr/>
                    <a:lstStyle/>
                    <a:p>
                      <a:pPr marL="91440" algn="l" fontAlgn="b"/>
                      <a:r>
                        <a:rPr lang="en-US" sz="12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amp;M</a:t>
                      </a:r>
                      <a:endPar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b"/>
                      <a:r>
                        <a:rPr lang="en-US" sz="12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a:t>
                      </a:r>
                      <a:endPar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97796552"/>
                  </a:ext>
                </a:extLst>
              </a:tr>
              <a:tr h="278453">
                <a:tc>
                  <a:txBody>
                    <a:bodyPr/>
                    <a:lstStyle/>
                    <a:p>
                      <a:pPr marL="91440" algn="l" fontAlgn="b"/>
                      <a:r>
                        <a:rPr lang="en-US" sz="12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BO</a:t>
                      </a:r>
                      <a:endPar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b"/>
                      <a:r>
                        <a:rPr lang="en-US" sz="12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1</a:t>
                      </a:r>
                      <a:endPar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32985661"/>
                  </a:ext>
                </a:extLst>
              </a:tr>
              <a:tr h="278453">
                <a:tc>
                  <a:txBody>
                    <a:bodyPr/>
                    <a:lstStyle/>
                    <a:p>
                      <a:pPr marL="91440" algn="l" fontAlgn="b"/>
                      <a:r>
                        <a:rPr lang="en-US" sz="12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BI</a:t>
                      </a:r>
                      <a:endPar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b"/>
                      <a:r>
                        <a:rPr lang="en-US" sz="12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8</a:t>
                      </a:r>
                      <a:endPar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462792673"/>
                  </a:ext>
                </a:extLst>
              </a:tr>
              <a:tr h="278453">
                <a:tc>
                  <a:txBody>
                    <a:bodyPr/>
                    <a:lstStyle/>
                    <a:p>
                      <a:pPr marL="91440" algn="l" fontAlgn="b"/>
                      <a:r>
                        <a:rPr lang="en-US" sz="12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P</a:t>
                      </a:r>
                      <a:endPar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b"/>
                      <a:r>
                        <a:rPr lang="en-US" sz="12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7</a:t>
                      </a:r>
                      <a:endPar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38443981"/>
                  </a:ext>
                </a:extLst>
              </a:tr>
              <a:tr h="278453">
                <a:tc>
                  <a:txBody>
                    <a:bodyPr/>
                    <a:lstStyle/>
                    <a:p>
                      <a:pPr marL="91440" algn="l" fontAlgn="b"/>
                      <a:r>
                        <a:rPr lang="en-US" sz="12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amp;A</a:t>
                      </a:r>
                      <a:endPar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b"/>
                      <a:r>
                        <a:rPr lang="en-US" sz="12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01</a:t>
                      </a:r>
                      <a:endPar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318307"/>
                  </a:ext>
                </a:extLst>
              </a:tr>
              <a:tr h="278453">
                <a:tc>
                  <a:txBody>
                    <a:bodyPr/>
                    <a:lstStyle/>
                    <a:p>
                      <a:pPr marL="91440" algn="l" fontAlgn="b"/>
                      <a:r>
                        <a:rPr lang="en-US" sz="12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dvisory</a:t>
                      </a:r>
                      <a:endParaRPr lang="en-US" sz="12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b"/>
                      <a:r>
                        <a:rPr lang="en-US" sz="12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2</a:t>
                      </a:r>
                      <a:endParaRPr lang="en-US" sz="12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641583957"/>
                  </a:ext>
                </a:extLst>
              </a:tr>
              <a:tr h="278453">
                <a:tc>
                  <a:txBody>
                    <a:bodyPr/>
                    <a:lstStyle/>
                    <a:p>
                      <a:pPr marL="91440" algn="l" fontAlgn="b"/>
                      <a:r>
                        <a:rPr lang="en-US" sz="12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ccounting &amp; Internal Controls</a:t>
                      </a:r>
                      <a:endPar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b"/>
                      <a:r>
                        <a:rPr lang="en-US" sz="12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a:t>
                      </a:r>
                      <a:endPar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99877294"/>
                  </a:ext>
                </a:extLst>
              </a:tr>
              <a:tr h="278453">
                <a:tc>
                  <a:txBody>
                    <a:bodyPr/>
                    <a:lstStyle/>
                    <a:p>
                      <a:pPr marL="91440" algn="l" fontAlgn="b"/>
                      <a:r>
                        <a:rPr lang="en-US" sz="12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yber &amp; Strategic Risk</a:t>
                      </a:r>
                      <a:endPar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b"/>
                      <a:r>
                        <a:rPr lang="en-US" sz="12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8</a:t>
                      </a:r>
                      <a:endPar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03867223"/>
                  </a:ext>
                </a:extLst>
              </a:tr>
              <a:tr h="278453">
                <a:tc>
                  <a:txBody>
                    <a:bodyPr/>
                    <a:lstStyle/>
                    <a:p>
                      <a:pPr marL="91440" algn="l" fontAlgn="b"/>
                      <a:r>
                        <a:rPr lang="en-US" sz="12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gulatory &amp; Legal Support</a:t>
                      </a:r>
                      <a:endPar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b"/>
                      <a:r>
                        <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a:t>
                      </a: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65160741"/>
                  </a:ext>
                </a:extLst>
              </a:tr>
              <a:tr h="278453">
                <a:tc>
                  <a:txBody>
                    <a:bodyPr/>
                    <a:lstStyle/>
                    <a:p>
                      <a:pPr marL="91440" algn="l" fontAlgn="b"/>
                      <a:r>
                        <a:rPr lang="en-US" sz="12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isk &amp; Financial Advisory National</a:t>
                      </a:r>
                      <a:endPar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b"/>
                      <a:r>
                        <a:rPr lang="en-US" sz="12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a:t>
                      </a:r>
                      <a:endParaRPr lang="en-US" sz="12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804829622"/>
                  </a:ext>
                </a:extLst>
              </a:tr>
              <a:tr h="278453">
                <a:tc>
                  <a:txBody>
                    <a:bodyPr/>
                    <a:lstStyle/>
                    <a:p>
                      <a:pPr marL="91440" algn="l" fontAlgn="b"/>
                      <a:r>
                        <a:rPr lang="en-US" sz="12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ax</a:t>
                      </a:r>
                      <a:endParaRPr lang="en-US" sz="12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b"/>
                      <a:r>
                        <a:rPr lang="en-US" sz="12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a:t>
                      </a:r>
                      <a:endParaRPr lang="en-US" sz="12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610566948"/>
                  </a:ext>
                </a:extLst>
              </a:tr>
              <a:tr h="278453">
                <a:tc>
                  <a:txBody>
                    <a:bodyPr/>
                    <a:lstStyle/>
                    <a:p>
                      <a:pPr marL="91440" algn="l" fontAlgn="b"/>
                      <a:r>
                        <a:rPr lang="en-US" sz="12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udit</a:t>
                      </a:r>
                      <a:endParaRPr lang="en-US" sz="12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b"/>
                      <a:r>
                        <a:rPr lang="en-US" sz="12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a:t>
                      </a:r>
                      <a:endParaRPr lang="en-US" sz="12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907501958"/>
                  </a:ext>
                </a:extLst>
              </a:tr>
              <a:tr h="278453">
                <a:tc>
                  <a:txBody>
                    <a:bodyPr/>
                    <a:lstStyle/>
                    <a:p>
                      <a:pPr marL="91440" algn="l" fontAlgn="b"/>
                      <a:r>
                        <a:rPr lang="en-US" sz="12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ITS</a:t>
                      </a:r>
                      <a:endParaRPr lang="en-US" sz="12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b"/>
                      <a:r>
                        <a:rPr lang="en-US" sz="12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8</a:t>
                      </a:r>
                      <a:endParaRPr lang="en-US" sz="12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062578218"/>
                  </a:ext>
                </a:extLst>
              </a:tr>
              <a:tr h="278453">
                <a:tc>
                  <a:txBody>
                    <a:bodyPr/>
                    <a:lstStyle/>
                    <a:p>
                      <a:pPr marL="91440" algn="l" fontAlgn="b"/>
                      <a:r>
                        <a:rPr lang="en-US" sz="12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rand Total</a:t>
                      </a:r>
                    </a:p>
                  </a:txBody>
                  <a:tcPr marL="0" marR="0" marT="0" marB="0" anchor="ctr">
                    <a:lnT w="6350" cap="flat" cmpd="sng" algn="ctr">
                      <a:solidFill>
                        <a:schemeClr val="bg1">
                          <a:lumMod val="85000"/>
                        </a:schemeClr>
                      </a:solidFill>
                      <a:prstDash val="solid"/>
                      <a:round/>
                      <a:headEnd type="none" w="med" len="med"/>
                      <a:tailEnd type="none" w="med" len="med"/>
                    </a:lnT>
                    <a:solidFill>
                      <a:schemeClr val="accent1">
                        <a:lumMod val="20000"/>
                        <a:lumOff val="80000"/>
                      </a:schemeClr>
                    </a:solidFill>
                  </a:tcPr>
                </a:tc>
                <a:tc>
                  <a:txBody>
                    <a:bodyPr/>
                    <a:lstStyle/>
                    <a:p>
                      <a:pPr algn="ctr" fontAlgn="b"/>
                      <a:r>
                        <a:rPr lang="en-US" sz="12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18</a:t>
                      </a:r>
                    </a:p>
                  </a:txBody>
                  <a:tcPr marL="0" marR="0" marT="0" marB="0" anchor="ctr">
                    <a:lnT w="6350" cap="flat" cmpd="sng" algn="ctr">
                      <a:solidFill>
                        <a:schemeClr val="bg1">
                          <a:lumMod val="85000"/>
                        </a:schemeClr>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3107972118"/>
                  </a:ext>
                </a:extLst>
              </a:tr>
            </a:tbl>
          </a:graphicData>
        </a:graphic>
      </p:graphicFrame>
    </p:spTree>
    <p:extLst>
      <p:ext uri="{BB962C8B-B14F-4D97-AF65-F5344CB8AC3E}">
        <p14:creationId xmlns:p14="http://schemas.microsoft.com/office/powerpoint/2010/main" val="12631223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543949B-4804-4963-A641-040FEC1A2496}"/>
              </a:ext>
            </a:extLst>
          </p:cNvPr>
          <p:cNvSpPr>
            <a:spLocks noGrp="1"/>
          </p:cNvSpPr>
          <p:nvPr>
            <p:ph type="body" sz="quarter" idx="22"/>
          </p:nvPr>
        </p:nvSpPr>
        <p:spPr>
          <a:xfrm>
            <a:off x="463295" y="682940"/>
            <a:ext cx="11378638" cy="529833"/>
          </a:xfrm>
        </p:spPr>
        <p:txBody>
          <a:body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r>
              <a:rPr kumimoji="0" lang="en-US" sz="1800" b="0"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Feel free to reach out to us if you have any questions</a:t>
            </a:r>
            <a:endParaRPr kumimoji="0" lang="en-IN" sz="1800" b="0"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Title 3">
            <a:extLst>
              <a:ext uri="{FF2B5EF4-FFF2-40B4-BE49-F238E27FC236}">
                <a16:creationId xmlns:a16="http://schemas.microsoft.com/office/drawing/2014/main" id="{DAEE1803-6C46-402C-AB88-B2E0DEFA8E5C}"/>
              </a:ext>
            </a:extLst>
          </p:cNvPr>
          <p:cNvSpPr>
            <a:spLocks noGrp="1"/>
          </p:cNvSpPr>
          <p:nvPr>
            <p:ph type="title"/>
          </p:nvPr>
        </p:nvSpPr>
        <p:spPr/>
        <p:txBody>
          <a:bodyPr/>
          <a:lstStyle/>
          <a:p>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Contact Us</a:t>
            </a:r>
          </a:p>
        </p:txBody>
      </p:sp>
      <p:sp>
        <p:nvSpPr>
          <p:cNvPr id="37" name="Rectangle 36">
            <a:extLst>
              <a:ext uri="{FF2B5EF4-FFF2-40B4-BE49-F238E27FC236}">
                <a16:creationId xmlns:a16="http://schemas.microsoft.com/office/drawing/2014/main" id="{A7A43B41-F3D6-4D81-AA13-991689DE2765}"/>
              </a:ext>
            </a:extLst>
          </p:cNvPr>
          <p:cNvSpPr/>
          <p:nvPr/>
        </p:nvSpPr>
        <p:spPr>
          <a:xfrm>
            <a:off x="646670" y="6021172"/>
            <a:ext cx="11094225" cy="307777"/>
          </a:xfrm>
          <a:prstGeom prst="rect">
            <a:avLst/>
          </a:prstGeom>
          <a:solidFill>
            <a:schemeClr val="bg1">
              <a:lumMod val="95000"/>
            </a:schemeClr>
          </a:solidFill>
        </p:spPr>
        <p:txBody>
          <a:bodyPr wrap="square">
            <a:spAutoFit/>
          </a:bodyPr>
          <a:lstStyle/>
          <a:p>
            <a:pPr algn="ctr">
              <a:spcAft>
                <a:spcPts val="600"/>
              </a:spcAft>
              <a:defRPr/>
            </a:pPr>
            <a:r>
              <a:rPr lang="en-US" sz="1400">
                <a:solidFill>
                  <a:prstClr val="black"/>
                </a:solidFill>
                <a:latin typeface="Open Sans" panose="020B0606030504020204" pitchFamily="34" charset="0"/>
                <a:ea typeface="Open Sans" panose="020B0606030504020204" pitchFamily="34" charset="0"/>
                <a:cs typeface="Open Sans" panose="020B0606030504020204" pitchFamily="34" charset="0"/>
              </a:rPr>
              <a:t>For general questions, please email </a:t>
            </a:r>
            <a:r>
              <a:rPr lang="en-US" sz="1400">
                <a:solidFill>
                  <a:prstClr val="black"/>
                </a:solidFill>
                <a:latin typeface="Open Sans" panose="020B0606030504020204" pitchFamily="34" charset="0"/>
                <a:ea typeface="Open Sans" panose="020B0606030504020204" pitchFamily="34" charset="0"/>
                <a:cs typeface="Open Sans" panose="020B0606030504020204" pitchFamily="34" charset="0"/>
                <a:hlinkClick r:id="rId3"/>
              </a:rPr>
              <a:t>usiaiacademy@deloitte.com</a:t>
            </a:r>
            <a:endParaRPr lang="en-US" sz="14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146" name="Picture 2" descr="Nitin Mittal">
            <a:extLst>
              <a:ext uri="{FF2B5EF4-FFF2-40B4-BE49-F238E27FC236}">
                <a16:creationId xmlns:a16="http://schemas.microsoft.com/office/drawing/2014/main" id="{5AD0A009-66FE-4FA5-9290-D8A1A14056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1220" y="1133609"/>
            <a:ext cx="1389888" cy="1389888"/>
          </a:xfrm>
          <a:prstGeom prst="rect">
            <a:avLst/>
          </a:prstGeom>
          <a:noFill/>
          <a:extLst>
            <a:ext uri="{909E8E84-426E-40DD-AFC4-6F175D3DCCD1}">
              <a14:hiddenFill xmlns:a14="http://schemas.microsoft.com/office/drawing/2010/main">
                <a:solidFill>
                  <a:srgbClr val="FFFFFF"/>
                </a:solidFill>
              </a14:hiddenFill>
            </a:ext>
          </a:extLst>
        </p:spPr>
      </p:pic>
      <p:pic>
        <p:nvPicPr>
          <p:cNvPr id="6147" name="id-AF594B38-CB1D-46F7-99AC-7344F4B9515D" descr="Image.jpeg">
            <a:extLst>
              <a:ext uri="{FF2B5EF4-FFF2-40B4-BE49-F238E27FC236}">
                <a16:creationId xmlns:a16="http://schemas.microsoft.com/office/drawing/2014/main" id="{B41F793A-AC29-4FE4-8241-D9907B3956B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227299" y="1133609"/>
            <a:ext cx="1389888" cy="138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23">
            <a:extLst>
              <a:ext uri="{FF2B5EF4-FFF2-40B4-BE49-F238E27FC236}">
                <a16:creationId xmlns:a16="http://schemas.microsoft.com/office/drawing/2014/main" id="{C6B6F2FF-CA97-493A-B8F2-3C1B8CACC7C5}"/>
              </a:ext>
            </a:extLst>
          </p:cNvPr>
          <p:cNvSpPr/>
          <p:nvPr/>
        </p:nvSpPr>
        <p:spPr>
          <a:xfrm>
            <a:off x="2194540" y="1331680"/>
            <a:ext cx="2032759" cy="1000274"/>
          </a:xfrm>
          <a:prstGeom prst="rect">
            <a:avLst/>
          </a:prstGeom>
        </p:spPr>
        <p:txBody>
          <a:bodyPr wrap="square">
            <a:spAutoFit/>
          </a:bodyPr>
          <a:lstStyle/>
          <a:p>
            <a:pPr>
              <a:spcAft>
                <a:spcPts val="600"/>
              </a:spcAft>
              <a:defRPr/>
            </a:pPr>
            <a:r>
              <a:rPr lang="en-US" sz="1100" b="1" dirty="0">
                <a:solidFill>
                  <a:prstClr val="black"/>
                </a:solidFill>
                <a:latin typeface="Open Sans" panose="020B0606030504020204" pitchFamily="34" charset="0"/>
                <a:ea typeface="Open Sans" panose="020B0606030504020204" pitchFamily="34" charset="0"/>
                <a:cs typeface="Open Sans" panose="020B0606030504020204" pitchFamily="34" charset="0"/>
              </a:rPr>
              <a:t>Nitin Mittal</a:t>
            </a:r>
          </a:p>
          <a:p>
            <a:pPr>
              <a:spcAft>
                <a:spcPts val="600"/>
              </a:spcAft>
              <a:defRPr/>
            </a:pP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AI SGO Co-Lead</a:t>
            </a:r>
          </a:p>
          <a:p>
            <a:pPr>
              <a:spcAft>
                <a:spcPts val="600"/>
              </a:spcAft>
              <a:defRPr/>
            </a:pPr>
            <a:r>
              <a:rPr lang="fi-FI" sz="1100" dirty="0">
                <a:solidFill>
                  <a:prstClr val="black"/>
                </a:solidFill>
                <a:latin typeface="Open Sans" panose="020B0606030504020204" pitchFamily="34" charset="0"/>
                <a:ea typeface="Open Sans" panose="020B0606030504020204" pitchFamily="34" charset="0"/>
                <a:cs typeface="Open Sans" panose="020B0606030504020204" pitchFamily="34" charset="0"/>
                <a:hlinkClick r:id="rId6"/>
              </a:rPr>
              <a:t>nmittal@deloitte.com</a:t>
            </a:r>
            <a:endPar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a:spcAft>
                <a:spcPts val="600"/>
              </a:spcAft>
              <a:defRPr/>
            </a:pPr>
            <a:endParaRPr lang="fi-FI" sz="11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Rectangle 24">
            <a:extLst>
              <a:ext uri="{FF2B5EF4-FFF2-40B4-BE49-F238E27FC236}">
                <a16:creationId xmlns:a16="http://schemas.microsoft.com/office/drawing/2014/main" id="{6EDD95AB-2488-4092-9BA4-CA903100AE86}"/>
              </a:ext>
            </a:extLst>
          </p:cNvPr>
          <p:cNvSpPr/>
          <p:nvPr/>
        </p:nvSpPr>
        <p:spPr>
          <a:xfrm>
            <a:off x="5867400" y="1331680"/>
            <a:ext cx="2032759" cy="1000274"/>
          </a:xfrm>
          <a:prstGeom prst="rect">
            <a:avLst/>
          </a:prstGeom>
        </p:spPr>
        <p:txBody>
          <a:bodyPr wrap="square">
            <a:spAutoFit/>
          </a:bodyPr>
          <a:lstStyle/>
          <a:p>
            <a:pPr>
              <a:spcAft>
                <a:spcPts val="600"/>
              </a:spcAft>
              <a:defRPr/>
            </a:pPr>
            <a:r>
              <a:rPr lang="en-US" sz="1100" b="1" dirty="0">
                <a:solidFill>
                  <a:prstClr val="black"/>
                </a:solidFill>
                <a:latin typeface="Open Sans" panose="020B0606030504020204" pitchFamily="34" charset="0"/>
                <a:ea typeface="Open Sans" panose="020B0606030504020204" pitchFamily="34" charset="0"/>
                <a:cs typeface="Open Sans" panose="020B0606030504020204" pitchFamily="34" charset="0"/>
              </a:rPr>
              <a:t>Irfan Saif</a:t>
            </a:r>
          </a:p>
          <a:p>
            <a:pPr>
              <a:spcAft>
                <a:spcPts val="600"/>
              </a:spcAft>
              <a:defRPr/>
            </a:pP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AI SGO Co-Lead</a:t>
            </a:r>
          </a:p>
          <a:p>
            <a:pPr>
              <a:spcAft>
                <a:spcPts val="600"/>
              </a:spcAft>
              <a:defRPr/>
            </a:pPr>
            <a:r>
              <a:rPr lang="en-US" sz="1100" dirty="0">
                <a:latin typeface="Open Sans" panose="020B0606030504020204" pitchFamily="34" charset="0"/>
                <a:ea typeface="Open Sans" panose="020B0606030504020204" pitchFamily="34" charset="0"/>
                <a:cs typeface="Open Sans" panose="020B0606030504020204" pitchFamily="34" charset="0"/>
                <a:hlinkClick r:id="rId7"/>
              </a:rPr>
              <a:t>isaif@deloitte.com</a:t>
            </a:r>
            <a:endParaRPr lang="en-US" sz="1100" dirty="0">
              <a:latin typeface="Open Sans" panose="020B0606030504020204" pitchFamily="34" charset="0"/>
              <a:ea typeface="Open Sans" panose="020B0606030504020204" pitchFamily="34" charset="0"/>
              <a:cs typeface="Open Sans" panose="020B0606030504020204" pitchFamily="34" charset="0"/>
            </a:endParaRPr>
          </a:p>
          <a:p>
            <a:pPr>
              <a:spcAft>
                <a:spcPts val="600"/>
              </a:spcAft>
              <a:defRPr/>
            </a:pPr>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62" name="Rectangle 61">
            <a:extLst>
              <a:ext uri="{FF2B5EF4-FFF2-40B4-BE49-F238E27FC236}">
                <a16:creationId xmlns:a16="http://schemas.microsoft.com/office/drawing/2014/main" id="{7305771E-5787-4F9E-A684-113037075544}"/>
              </a:ext>
            </a:extLst>
          </p:cNvPr>
          <p:cNvSpPr/>
          <p:nvPr/>
        </p:nvSpPr>
        <p:spPr>
          <a:xfrm>
            <a:off x="5867400" y="3124200"/>
            <a:ext cx="1990643" cy="707886"/>
          </a:xfrm>
          <a:prstGeom prst="rect">
            <a:avLst/>
          </a:prstGeom>
        </p:spPr>
        <p:txBody>
          <a:bodyPr wrap="square">
            <a:spAutoFit/>
          </a:bodyPr>
          <a:lstStyle/>
          <a:p>
            <a:pPr>
              <a:spcAft>
                <a:spcPts val="600"/>
              </a:spcAft>
              <a:defRPr/>
            </a:pP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anghamitra Pati</a:t>
            </a:r>
          </a:p>
          <a:p>
            <a:pPr>
              <a:spcAft>
                <a:spcPts val="600"/>
              </a:spcAft>
              <a:defRP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USI Deloitte AI Academy Lead</a:t>
            </a:r>
          </a:p>
          <a:p>
            <a:pPr>
              <a:spcAft>
                <a:spcPts val="600"/>
              </a:spcAft>
              <a:defRPr/>
            </a:pPr>
            <a:r>
              <a:rPr lang="en-US" sz="1000" dirty="0">
                <a:latin typeface="Open Sans" panose="020B0606030504020204" pitchFamily="34" charset="0"/>
                <a:ea typeface="Open Sans" panose="020B0606030504020204" pitchFamily="34" charset="0"/>
                <a:cs typeface="Open Sans" panose="020B0606030504020204" pitchFamily="34" charset="0"/>
                <a:hlinkClick r:id="rId8"/>
              </a:rPr>
              <a:t>spati@deloitte.com</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pic>
        <p:nvPicPr>
          <p:cNvPr id="64" name="Picture 63">
            <a:extLst>
              <a:ext uri="{FF2B5EF4-FFF2-40B4-BE49-F238E27FC236}">
                <a16:creationId xmlns:a16="http://schemas.microsoft.com/office/drawing/2014/main" id="{85A4DA68-4EAC-4AAB-96D3-386B8996092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92826" y="2754402"/>
            <a:ext cx="1396111" cy="1396111"/>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4">
            <a:extLst>
              <a:ext uri="{FF2B5EF4-FFF2-40B4-BE49-F238E27FC236}">
                <a16:creationId xmlns:a16="http://schemas.microsoft.com/office/drawing/2014/main" id="{0E795F69-D9F9-40CC-8820-855FD28C75A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292826" y="4380976"/>
            <a:ext cx="1397545" cy="1397545"/>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BAF714A8-686A-4D3E-9641-D26762CE481B}"/>
              </a:ext>
            </a:extLst>
          </p:cNvPr>
          <p:cNvSpPr/>
          <p:nvPr/>
        </p:nvSpPr>
        <p:spPr>
          <a:xfrm>
            <a:off x="5867400" y="4761976"/>
            <a:ext cx="1882553" cy="730969"/>
          </a:xfrm>
          <a:prstGeom prst="rect">
            <a:avLst/>
          </a:prstGeom>
        </p:spPr>
        <p:txBody>
          <a:bodyPr wrap="square">
            <a:spAutoFit/>
          </a:bodyPr>
          <a:lstStyle/>
          <a:p>
            <a:pPr>
              <a:spcAft>
                <a:spcPts val="600"/>
              </a:spcAft>
              <a:defRPr/>
            </a:pP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Charley Chen</a:t>
            </a:r>
          </a:p>
          <a:p>
            <a:pPr>
              <a:spcAft>
                <a:spcPts val="600"/>
              </a:spcAft>
              <a:defRP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AI SGO Manager</a:t>
            </a:r>
          </a:p>
          <a:p>
            <a:pPr>
              <a:spcAft>
                <a:spcPts val="600"/>
              </a:spcAft>
              <a:defRPr/>
            </a:pPr>
            <a:r>
              <a:rPr lang="en-US" sz="1000" dirty="0">
                <a:latin typeface="Open Sans" panose="020B0606030504020204" pitchFamily="34" charset="0"/>
                <a:ea typeface="Open Sans" panose="020B0606030504020204" pitchFamily="34" charset="0"/>
                <a:cs typeface="Open Sans" panose="020B0606030504020204" pitchFamily="34" charset="0"/>
                <a:hlinkClick r:id="rId11"/>
              </a:rPr>
              <a:t>charleychen@deloitte.com</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60" name="Rectangle 59">
            <a:extLst>
              <a:ext uri="{FF2B5EF4-FFF2-40B4-BE49-F238E27FC236}">
                <a16:creationId xmlns:a16="http://schemas.microsoft.com/office/drawing/2014/main" id="{E34498B3-A528-4835-860C-BF1548287269}"/>
              </a:ext>
            </a:extLst>
          </p:cNvPr>
          <p:cNvSpPr/>
          <p:nvPr/>
        </p:nvSpPr>
        <p:spPr>
          <a:xfrm>
            <a:off x="9664700" y="1331680"/>
            <a:ext cx="1999792" cy="730969"/>
          </a:xfrm>
          <a:prstGeom prst="rect">
            <a:avLst/>
          </a:prstGeom>
        </p:spPr>
        <p:txBody>
          <a:bodyPr wrap="square">
            <a:spAutoFit/>
          </a:bodyPr>
          <a:lstStyle/>
          <a:p>
            <a:pPr>
              <a:spcAft>
                <a:spcPts val="600"/>
              </a:spcAft>
              <a:defRPr/>
            </a:pP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Jim Rowan</a:t>
            </a:r>
          </a:p>
          <a:p>
            <a:pPr>
              <a:spcAft>
                <a:spcPts val="600"/>
              </a:spcAft>
              <a:defRPr/>
            </a:pPr>
            <a:r>
              <a:rPr lang="en-US" sz="1000" dirty="0">
                <a:latin typeface="Open Sans" panose="020B0606030504020204" pitchFamily="34" charset="0"/>
                <a:ea typeface="Open Sans" panose="020B0606030504020204" pitchFamily="34" charset="0"/>
                <a:cs typeface="Open Sans" panose="020B0606030504020204" pitchFamily="34" charset="0"/>
              </a:rPr>
              <a:t>US Deloitte AI Academy Lead</a:t>
            </a:r>
          </a:p>
          <a:p>
            <a:pPr>
              <a:spcAft>
                <a:spcPts val="600"/>
              </a:spcAft>
              <a:defRPr/>
            </a:pPr>
            <a:r>
              <a:rPr lang="en-US" sz="1000" dirty="0">
                <a:latin typeface="Open Sans" panose="020B0606030504020204" pitchFamily="34" charset="0"/>
                <a:ea typeface="Open Sans" panose="020B0606030504020204" pitchFamily="34" charset="0"/>
                <a:cs typeface="Open Sans" panose="020B0606030504020204" pitchFamily="34" charset="0"/>
                <a:hlinkClick r:id="rId12"/>
              </a:rPr>
              <a:t>jimrowan@deloitte.com</a:t>
            </a:r>
            <a:r>
              <a:rPr lang="en-US" sz="1000" dirty="0">
                <a:latin typeface="Open Sans" panose="020B0606030504020204" pitchFamily="34" charset="0"/>
                <a:ea typeface="Open Sans" panose="020B0606030504020204" pitchFamily="34" charset="0"/>
                <a:cs typeface="Open Sans" panose="020B0606030504020204" pitchFamily="34" charset="0"/>
              </a:rPr>
              <a:t> </a:t>
            </a:r>
          </a:p>
        </p:txBody>
      </p:sp>
      <p:pic>
        <p:nvPicPr>
          <p:cNvPr id="61" name="Picture 2">
            <a:extLst>
              <a:ext uri="{FF2B5EF4-FFF2-40B4-BE49-F238E27FC236}">
                <a16:creationId xmlns:a16="http://schemas.microsoft.com/office/drawing/2014/main" id="{D63CE007-0376-4735-B1A5-3D9A91222DA2}"/>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060726" y="1133857"/>
            <a:ext cx="1397545" cy="1397545"/>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a:extLst>
              <a:ext uri="{FF2B5EF4-FFF2-40B4-BE49-F238E27FC236}">
                <a16:creationId xmlns:a16="http://schemas.microsoft.com/office/drawing/2014/main" id="{AD28148E-6F9D-4946-82F5-A3220FD03E2D}"/>
              </a:ext>
            </a:extLst>
          </p:cNvPr>
          <p:cNvSpPr/>
          <p:nvPr/>
        </p:nvSpPr>
        <p:spPr>
          <a:xfrm>
            <a:off x="2194540" y="3124200"/>
            <a:ext cx="1919824" cy="730969"/>
          </a:xfrm>
          <a:prstGeom prst="rect">
            <a:avLst/>
          </a:prstGeom>
        </p:spPr>
        <p:txBody>
          <a:bodyPr wrap="square">
            <a:spAutoFit/>
          </a:bodyPr>
          <a:lstStyle/>
          <a:p>
            <a:pPr>
              <a:spcAft>
                <a:spcPts val="600"/>
              </a:spcAft>
              <a:defRPr/>
            </a:pP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Christina Scoby</a:t>
            </a:r>
          </a:p>
          <a:p>
            <a:pPr>
              <a:spcAft>
                <a:spcPts val="600"/>
              </a:spcAft>
              <a:defRP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Deloitte AI Academy Dean</a:t>
            </a:r>
          </a:p>
          <a:p>
            <a:pPr>
              <a:spcAft>
                <a:spcPts val="600"/>
              </a:spcAft>
              <a:defRPr/>
            </a:pPr>
            <a:r>
              <a:rPr lang="en-US" sz="1000" dirty="0">
                <a:latin typeface="Open Sans" panose="020B0606030504020204" pitchFamily="34" charset="0"/>
                <a:ea typeface="Open Sans" panose="020B0606030504020204" pitchFamily="34" charset="0"/>
                <a:cs typeface="Open Sans" panose="020B0606030504020204" pitchFamily="34" charset="0"/>
                <a:hlinkClick r:id="rId14"/>
              </a:rPr>
              <a:t>cscoby@deloitte.com</a:t>
            </a:r>
            <a:r>
              <a:rPr lang="en-US" sz="1000" dirty="0">
                <a:latin typeface="Open Sans" panose="020B0606030504020204" pitchFamily="34" charset="0"/>
                <a:ea typeface="Open Sans" panose="020B0606030504020204" pitchFamily="34" charset="0"/>
                <a:cs typeface="Open Sans" panose="020B0606030504020204" pitchFamily="34" charset="0"/>
              </a:rPr>
              <a:t> </a:t>
            </a:r>
          </a:p>
        </p:txBody>
      </p:sp>
      <p:pic>
        <p:nvPicPr>
          <p:cNvPr id="55" name="Picture 2">
            <a:extLst>
              <a:ext uri="{FF2B5EF4-FFF2-40B4-BE49-F238E27FC236}">
                <a16:creationId xmlns:a16="http://schemas.microsoft.com/office/drawing/2014/main" id="{75EA1EB6-A61C-4579-8C8F-62C3FAD4E9A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11220" y="2742214"/>
            <a:ext cx="1391784" cy="139178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D9B3A785-88B4-4A2B-BCB7-A245B6F3FC72}"/>
              </a:ext>
            </a:extLst>
          </p:cNvPr>
          <p:cNvSpPr/>
          <p:nvPr/>
        </p:nvSpPr>
        <p:spPr>
          <a:xfrm>
            <a:off x="2194540" y="4761976"/>
            <a:ext cx="1990643" cy="677108"/>
          </a:xfrm>
          <a:prstGeom prst="rect">
            <a:avLst/>
          </a:prstGeom>
        </p:spPr>
        <p:txBody>
          <a:bodyPr wrap="square">
            <a:spAutoFit/>
          </a:bodyPr>
          <a:lstStyle/>
          <a:p>
            <a:pPr>
              <a:spcAft>
                <a:spcPts val="600"/>
              </a:spcAft>
              <a:defRPr/>
            </a:pPr>
            <a:r>
              <a:rPr lang="en-US" sz="1000" b="1" dirty="0" err="1">
                <a:solidFill>
                  <a:prstClr val="black"/>
                </a:solidFill>
                <a:latin typeface="Open Sans" panose="020B0606030504020204" pitchFamily="34" charset="0"/>
                <a:ea typeface="Open Sans" panose="020B0606030504020204" pitchFamily="34" charset="0"/>
                <a:cs typeface="Open Sans" panose="020B0606030504020204" pitchFamily="34" charset="0"/>
              </a:rPr>
              <a:t>Giri</a:t>
            </a: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 Chandramohan </a:t>
            </a:r>
          </a:p>
          <a:p>
            <a:pPr>
              <a:spcAft>
                <a:spcPts val="600"/>
              </a:spcAft>
              <a:defRP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USI Advisory AI Lead</a:t>
            </a:r>
          </a:p>
          <a:p>
            <a:pPr>
              <a:spcAft>
                <a:spcPts val="600"/>
              </a:spcAft>
              <a:defRPr/>
            </a:pPr>
            <a:r>
              <a:rPr lang="en-US" sz="800" dirty="0">
                <a:solidFill>
                  <a:prstClr val="black"/>
                </a:solidFill>
                <a:latin typeface="Open Sans" panose="020B0606030504020204" pitchFamily="34" charset="0"/>
                <a:ea typeface="Open Sans" panose="020B0606030504020204" pitchFamily="34" charset="0"/>
                <a:cs typeface="Open Sans" panose="020B0606030504020204" pitchFamily="34" charset="0"/>
                <a:hlinkClick r:id="rId16"/>
              </a:rPr>
              <a:t>schandramohan@deloitte.com</a:t>
            </a:r>
            <a:r>
              <a:rPr lang="en-US" sz="800" dirty="0">
                <a:solidFill>
                  <a:prstClr val="black"/>
                </a:solidFill>
                <a:latin typeface="Open Sans" panose="020B0606030504020204" pitchFamily="34" charset="0"/>
                <a:ea typeface="Open Sans" panose="020B0606030504020204" pitchFamily="34" charset="0"/>
                <a:cs typeface="Open Sans" panose="020B0606030504020204" pitchFamily="34" charset="0"/>
              </a:rPr>
              <a:t> </a:t>
            </a:r>
          </a:p>
        </p:txBody>
      </p:sp>
      <p:pic>
        <p:nvPicPr>
          <p:cNvPr id="19" name="Picture 4">
            <a:extLst>
              <a:ext uri="{FF2B5EF4-FFF2-40B4-BE49-F238E27FC236}">
                <a16:creationId xmlns:a16="http://schemas.microsoft.com/office/drawing/2014/main" id="{E9CC3129-9B1A-43CC-A14C-FF8561C63FD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22300" y="4381500"/>
            <a:ext cx="1397545" cy="1397545"/>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BB5DC87E-5149-4149-8398-959F6F82B5D8}"/>
              </a:ext>
            </a:extLst>
          </p:cNvPr>
          <p:cNvSpPr/>
          <p:nvPr/>
        </p:nvSpPr>
        <p:spPr>
          <a:xfrm>
            <a:off x="9664700" y="3124200"/>
            <a:ext cx="1919823" cy="730969"/>
          </a:xfrm>
          <a:prstGeom prst="rect">
            <a:avLst/>
          </a:prstGeom>
        </p:spPr>
        <p:txBody>
          <a:bodyPr wrap="square">
            <a:spAutoFit/>
          </a:bodyPr>
          <a:lstStyle/>
          <a:p>
            <a:pPr>
              <a:spcAft>
                <a:spcPts val="600"/>
              </a:spcAft>
              <a:defRPr/>
            </a:pP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Ed Bowen</a:t>
            </a:r>
          </a:p>
          <a:p>
            <a:pPr>
              <a:spcAft>
                <a:spcPts val="600"/>
              </a:spcAft>
              <a:defRPr/>
            </a:pPr>
            <a:r>
              <a:rPr lang="en-US" sz="1000" dirty="0">
                <a:latin typeface="Open Sans" panose="020B0606030504020204" pitchFamily="34" charset="0"/>
                <a:ea typeface="Open Sans" panose="020B0606030504020204" pitchFamily="34" charset="0"/>
                <a:cs typeface="Open Sans" panose="020B0606030504020204" pitchFamily="34" charset="0"/>
              </a:rPr>
              <a:t>Advisory AI </a:t>
            </a:r>
            <a:r>
              <a:rPr lang="en-US" sz="1000" dirty="0" err="1">
                <a:latin typeface="Open Sans" panose="020B0606030504020204" pitchFamily="34" charset="0"/>
                <a:ea typeface="Open Sans" panose="020B0606030504020204" pitchFamily="34" charset="0"/>
                <a:cs typeface="Open Sans" panose="020B0606030504020204" pitchFamily="34" charset="0"/>
              </a:rPr>
              <a:t>CoE</a:t>
            </a:r>
            <a:r>
              <a:rPr lang="en-US" sz="1000" dirty="0">
                <a:latin typeface="Open Sans" panose="020B0606030504020204" pitchFamily="34" charset="0"/>
                <a:ea typeface="Open Sans" panose="020B0606030504020204" pitchFamily="34" charset="0"/>
                <a:cs typeface="Open Sans" panose="020B0606030504020204" pitchFamily="34" charset="0"/>
              </a:rPr>
              <a:t> Lead</a:t>
            </a:r>
          </a:p>
          <a:p>
            <a:pPr>
              <a:spcAft>
                <a:spcPts val="600"/>
              </a:spcAft>
              <a:defRPr/>
            </a:pP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hlinkClick r:id="rId18"/>
              </a:rPr>
              <a:t>edbowen@deloitte.com</a:t>
            </a:r>
            <a:r>
              <a:rPr lang="en-US" sz="1000" dirty="0">
                <a:solidFill>
                  <a:prstClr val="black"/>
                </a:solidFill>
                <a:latin typeface="Open Sans" panose="020B0606030504020204" pitchFamily="34" charset="0"/>
                <a:ea typeface="Open Sans" panose="020B0606030504020204" pitchFamily="34" charset="0"/>
                <a:cs typeface="Open Sans" panose="020B0606030504020204" pitchFamily="34" charset="0"/>
              </a:rPr>
              <a:t> </a:t>
            </a:r>
          </a:p>
        </p:txBody>
      </p:sp>
      <p:pic>
        <p:nvPicPr>
          <p:cNvPr id="21" name="Picture 4">
            <a:extLst>
              <a:ext uri="{FF2B5EF4-FFF2-40B4-BE49-F238E27FC236}">
                <a16:creationId xmlns:a16="http://schemas.microsoft.com/office/drawing/2014/main" id="{E2EEE6BD-6A24-4A2C-B5EF-00DEC3AFDD6C}"/>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064500" y="2743200"/>
            <a:ext cx="1397545" cy="13975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62006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lgn="l">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5" id="{21219445-7334-4AA3-9246-0115222D80DA}" vid="{F469ED6C-1D06-4A16-8A79-F12014AA15C8}"/>
    </a:ext>
  </a:extLst>
</a:theme>
</file>

<file path=ppt/theme/theme2.xml><?xml version="1.0" encoding="utf-8"?>
<a:theme xmlns:a="http://schemas.openxmlformats.org/drawingml/2006/main" name="1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DD Template Jan 2018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id="{FEF94515-3BAE-4235-BCE1-1ABB924272E1}" vid="{9ADB99F9-2657-4FDE-A3D6-9C31E6376348}"/>
    </a:ext>
  </a:extLst>
</a:theme>
</file>

<file path=ppt/theme/theme5.xml><?xml version="1.0" encoding="utf-8"?>
<a:theme xmlns:a="http://schemas.openxmlformats.org/drawingml/2006/main" name="2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6.xml><?xml version="1.0" encoding="utf-8"?>
<a:theme xmlns:a="http://schemas.openxmlformats.org/drawingml/2006/main" name="4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7.xml><?xml version="1.0" encoding="utf-8"?>
<a:theme xmlns:a="http://schemas.openxmlformats.org/drawingml/2006/main" name="Deloitte onscreen 169">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onscreen 169" id="{5A47E3C1-4117-4F1D-B8E7-D72BBA197AB6}" vid="{FE4DF541-3D0D-4609-8322-1C448B53ED6B}"/>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New Document" ma:contentTypeID="0x0101002880177DFDC248C38C745E1D664A5FC5005A06F54836795E42BB2EC0DAAB3ACA6A" ma:contentTypeVersion="52" ma:contentTypeDescription="Create a new Document" ma:contentTypeScope="" ma:versionID="a79aa5b153ac789cdd06a7bd43cda7b2">
  <xsd:schema xmlns:xsd="http://www.w3.org/2001/XMLSchema" xmlns:xs="http://www.w3.org/2001/XMLSchema" xmlns:p="http://schemas.microsoft.com/office/2006/metadata/properties" xmlns:ns1="http://schemas.microsoft.com/sharepoint/v3" xmlns:ns2="d78f0933-458e-4f0e-8f7e-f2dabe02af94" xmlns:ns3="7AF0C9C1-571A-469E-93FE-640E88AEF1EC" xmlns:ns4="a3273937-55e7-450c-ac1f-0f7de532f690" xmlns:ns5="994E32D3-2E21-4611-87E1-D68FC0813440" xmlns:ns6="8DD08C88-CC4C-4D35-9129-A70DAA36BE5E" xmlns:ns7="83DDB362-4C05-4E52-A8D9-EF2F47978B8D" xmlns:ns8="7D1768DD-F29E-4DC2-9191-F2636B9FA92C" xmlns:ns9="0DBE4740-AD0E-4EAB-9055-8EB1C48284D9" xmlns:ns10="39C40E9B-856B-46A7-8793-65A6FC1828D8" xmlns:ns12="3A0186DE-B11E-4A29-9C82-428D45BCA71F" xmlns:ns13="546D9DE3-080E-4EC6-B7DD-508C11F603C7" xmlns:ns14="5A51C775-C49C-428B-8C1E-2F89178D00F4" xmlns:ns15="26eeb191-7a3b-4609-9f91-b8fa5fc169f0" targetNamespace="http://schemas.microsoft.com/office/2006/metadata/properties" ma:root="true" ma:fieldsID="8ed394dfe815d513e0dfbae336062989" ns1:_="" ns2:_="" ns3:_="" ns4:_="" ns5:_="" ns6:_="" ns7:_="" ns8:_="" ns9:_="" ns10:_="" ns12:_="" ns13:_="" ns14:_="" ns15:_="">
    <xsd:import namespace="http://schemas.microsoft.com/sharepoint/v3"/>
    <xsd:import namespace="d78f0933-458e-4f0e-8f7e-f2dabe02af94"/>
    <xsd:import namespace="7AF0C9C1-571A-469E-93FE-640E88AEF1EC"/>
    <xsd:import namespace="a3273937-55e7-450c-ac1f-0f7de532f690"/>
    <xsd:import namespace="994E32D3-2E21-4611-87E1-D68FC0813440"/>
    <xsd:import namespace="8DD08C88-CC4C-4D35-9129-A70DAA36BE5E"/>
    <xsd:import namespace="83DDB362-4C05-4E52-A8D9-EF2F47978B8D"/>
    <xsd:import namespace="7D1768DD-F29E-4DC2-9191-F2636B9FA92C"/>
    <xsd:import namespace="0DBE4740-AD0E-4EAB-9055-8EB1C48284D9"/>
    <xsd:import namespace="39C40E9B-856B-46A7-8793-65A6FC1828D8"/>
    <xsd:import namespace="3A0186DE-B11E-4A29-9C82-428D45BCA71F"/>
    <xsd:import namespace="546D9DE3-080E-4EC6-B7DD-508C11F603C7"/>
    <xsd:import namespace="5A51C775-C49C-428B-8C1E-2F89178D00F4"/>
    <xsd:import namespace="26eeb191-7a3b-4609-9f91-b8fa5fc169f0"/>
    <xsd:element name="properties">
      <xsd:complexType>
        <xsd:sequence>
          <xsd:element name="documentManagement">
            <xsd:complexType>
              <xsd:all>
                <xsd:element ref="ns1:DescriptionHTML" minOccurs="0"/>
                <xsd:element ref="ns1:Author_selected" minOccurs="0"/>
                <xsd:element ref="ns3:Global_x0020_Internal_x0020_ServiceTaxHTField0" minOccurs="0"/>
                <xsd:element ref="ns4:TaxCatchAll" minOccurs="0"/>
                <xsd:element ref="ns4:TaxCatchAllLabel" minOccurs="0"/>
                <xsd:element ref="ns5:Geography_x0020_of_x0020_OriginTaxHTField0" minOccurs="0"/>
                <xsd:element ref="ns6:Local_x0020_Content_x0020_TypeTaxHTField0" minOccurs="0"/>
                <xsd:element ref="ns1:Client" minOccurs="0"/>
                <xsd:element ref="ns3:Local_x0020_Internal_x0020_ServiceTaxHTField0" minOccurs="0"/>
                <xsd:element ref="ns6:Global_x0020_Content_x0020_TypeTaxHTField0" minOccurs="0"/>
                <xsd:element ref="ns2:Abstract" minOccurs="0"/>
                <xsd:element ref="ns7:Primary_x0020_Global_x0020_IndustTaxHTField0" minOccurs="0"/>
                <xsd:element ref="ns8:Primary_x0020_Global_x0020_ClientTaxHTField0" minOccurs="0"/>
                <xsd:element ref="ns4:ClientLukup" minOccurs="0"/>
                <xsd:element ref="ns4:ClientID" minOccurs="0"/>
                <xsd:element ref="ns9:IPCO_x0020_DesignationTaxHTField0" minOccurs="0"/>
                <xsd:element ref="ns2:BusinessTitle" minOccurs="0"/>
                <xsd:element ref="ns10:KAM_x0020_LanguageTaxHTField0" minOccurs="0"/>
                <xsd:element ref="ns7:Primary_x0020_Local_x0020_IndustTaxHTField0" minOccurs="0"/>
                <xsd:element ref="ns1:Author_entered" minOccurs="0"/>
                <xsd:element ref="ns4:i67d27b5dd1e4ed29b03622e76ee750b" minOccurs="0"/>
                <xsd:element ref="ns12:Secondary_x0020_Global_x0020_ClieTaxHTField0" minOccurs="0"/>
                <xsd:element ref="ns13:Secondary_x0020_Local_x0020_InduTaxHTField0" minOccurs="0"/>
                <xsd:element ref="ns14:Applicable_x0020_GeographyTaxHTField0" minOccurs="0"/>
                <xsd:element ref="ns1:Contributor" minOccurs="0"/>
                <xsd:element ref="ns8:Primary_x0020_Local_x0020_ClientTaxHTField0" minOccurs="0"/>
                <xsd:element ref="ns13:Secondary_x0020_Global_x0020_InduTaxHTField0" minOccurs="0"/>
                <xsd:element ref="ns12:Secondary_x0020_Local_x0020_ClieTaxHTField0" minOccurs="0"/>
                <xsd:element ref="ns2:ContentDate" minOccurs="0"/>
                <xsd:element ref="ns4:_dlc_DocId" minOccurs="0"/>
                <xsd:element ref="ns4:_dlc_DocIdUrl" minOccurs="0"/>
                <xsd:element ref="ns4:_dlc_DocIdPersistId" minOccurs="0"/>
                <xsd:element ref="ns15:KAMActivity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escriptionHTML" ma:index="8" nillable="true" ma:displayName="KAM Description" ma:internalName="DescriptionHTML">
      <xsd:simpleType>
        <xsd:restriction base="dms:Unknown"/>
      </xsd:simpleType>
    </xsd:element>
    <xsd:element name="Author_selected" ma:index="10" nillable="true" ma:displayName="KAM Author" ma:list="UserInfo" ma:SharePointGroup="0" ma:internalName="Author_selected"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 ma:index="19" nillable="true" ma:displayName="Client (text)" ma:internalName="Client" ma:readOnly="false">
      <xsd:simpleType>
        <xsd:restriction base="dms:Text">
          <xsd:maxLength value="255"/>
        </xsd:restriction>
      </xsd:simpleType>
    </xsd:element>
    <xsd:element name="Author_entered" ma:index="38" nillable="true" ma:displayName="KAM Author (text)" ma:internalName="Author_entered" ma:readOnly="false">
      <xsd:simpleType>
        <xsd:restriction base="dms:Text">
          <xsd:maxLength value="255"/>
        </xsd:restriction>
      </xsd:simpleType>
    </xsd:element>
    <xsd:element name="Contributor" ma:index="47" nillable="true" ma:displayName="KAM Contributor" ma:list="UserInfo" ma:SharePointGroup="0" ma:internalName="Contributo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78f0933-458e-4f0e-8f7e-f2dabe02af94" elementFormDefault="qualified">
    <xsd:import namespace="http://schemas.microsoft.com/office/2006/documentManagement/types"/>
    <xsd:import namespace="http://schemas.microsoft.com/office/infopath/2007/PartnerControls"/>
    <xsd:element name="Abstract" ma:index="24" nillable="true" ma:displayName="Abstract" ma:internalName="Abstract">
      <xsd:simpleType>
        <xsd:restriction base="dms:Note">
          <xsd:maxLength value="150"/>
        </xsd:restriction>
      </xsd:simpleType>
    </xsd:element>
    <xsd:element name="BusinessTitle" ma:index="33" nillable="true" ma:displayName="Business Title" ma:indexed="true" ma:internalName="BusinessTitle">
      <xsd:simpleType>
        <xsd:restriction base="dms:Text"/>
      </xsd:simpleType>
    </xsd:element>
    <xsd:element name="ContentDate" ma:index="54" nillable="true" ma:displayName="Content Date" ma:format="DateOnly" ma:indexed="true" ma:internalName="Content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AF0C9C1-571A-469E-93FE-640E88AEF1EC" elementFormDefault="qualified">
    <xsd:import namespace="http://schemas.microsoft.com/office/2006/documentManagement/types"/>
    <xsd:import namespace="http://schemas.microsoft.com/office/infopath/2007/PartnerControls"/>
    <xsd:element name="Global_x0020_Internal_x0020_ServiceTaxHTField0" ma:index="11" nillable="true" ma:taxonomy="true" ma:internalName="Global_x0020_Internal_x0020_ServiceTaxHTField" ma:taxonomyFieldName="Global_x0020_Internal_x0020_Service" ma:displayName="Global Internal Service" ma:readOnly="false" ma:default="" ma:fieldId="{78949fba-bdc1-4268-a377-2819f8f8cc22}" ma:taxonomyMulti="true" ma:sspId="155bb128-613e-4099-96fa-4403fd0cc87b" ma:termSetId="2d964c90-0fcb-4b60-9702-531635f17251" ma:anchorId="00000000-0000-0000-0000-000000000000" ma:open="false" ma:isKeyword="false">
      <xsd:complexType>
        <xsd:sequence>
          <xsd:element ref="pc:Terms" minOccurs="0" maxOccurs="1"/>
        </xsd:sequence>
      </xsd:complexType>
    </xsd:element>
    <xsd:element name="Local_x0020_Internal_x0020_ServiceTaxHTField0" ma:index="20" nillable="true" ma:taxonomy="true" ma:internalName="Local_x0020_Internal_x0020_ServiceTaxHTField" ma:taxonomyFieldName="Local_x0020_Internal_x0020_Service" ma:displayName="Local Internal Service" ma:readOnly="false" ma:default="" ma:fieldId="{3c6b9500-9e92-4dc8-ac80-766b07b1a639}" ma:taxonomyMulti="true" ma:sspId="155bb128-613e-4099-96fa-4403fd0cc87b" ma:termSetId="a6913820-b621-4796-b77e-fe7afb08f41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3273937-55e7-450c-ac1f-0f7de532f690" elementFormDefault="qualified">
    <xsd:import namespace="http://schemas.microsoft.com/office/2006/documentManagement/types"/>
    <xsd:import namespace="http://schemas.microsoft.com/office/infopath/2007/PartnerControls"/>
    <xsd:element name="TaxCatchAll" ma:index="12" nillable="true" ma:displayName="Taxonomy Catch All Column" ma:description="" ma:hidden="true" ma:list="{481dc893-09d1-4653-a496-f7e7015033ac}" ma:internalName="TaxCatchAll" ma:showField="CatchAllData" ma:web="3afaf78a-d551-4cba-ac1c-7b1d912b8475">
      <xsd:complexType>
        <xsd:complexContent>
          <xsd:extension base="dms:MultiChoiceLookup">
            <xsd:sequence>
              <xsd:element name="Value" type="dms:Lookup" maxOccurs="unbounded" minOccurs="0" nillable="true"/>
            </xsd:sequence>
          </xsd:extension>
        </xsd:complexContent>
      </xsd:complexType>
    </xsd:element>
    <xsd:element name="TaxCatchAllLabel" ma:index="13" nillable="true" ma:displayName="Taxonomy Catch All Column1" ma:hidden="true" ma:list="{481dc893-09d1-4653-a496-f7e7015033ac}" ma:internalName="TaxCatchAllLabel" ma:readOnly="true" ma:showField="CatchAllDataLabel" ma:web="3afaf78a-d551-4cba-ac1c-7b1d912b8475">
      <xsd:complexType>
        <xsd:complexContent>
          <xsd:extension base="dms:MultiChoiceLookup">
            <xsd:sequence>
              <xsd:element name="Value" type="dms:Lookup" maxOccurs="unbounded" minOccurs="0" nillable="true"/>
            </xsd:sequence>
          </xsd:extension>
        </xsd:complexContent>
      </xsd:complexType>
    </xsd:element>
    <xsd:element name="ClientLukup" ma:index="29" nillable="true" ma:displayName="Client" ma:internalName="ClientLukup" ma:readOnly="false">
      <xsd:simpleType>
        <xsd:restriction base="dms:Text"/>
      </xsd:simpleType>
    </xsd:element>
    <xsd:element name="ClientID" ma:index="30" nillable="true" ma:displayName="ClientID" ma:internalName="ClientID" ma:readOnly="false">
      <xsd:simpleType>
        <xsd:restriction base="dms:Text"/>
      </xsd:simpleType>
    </xsd:element>
    <xsd:element name="i67d27b5dd1e4ed29b03622e76ee750b" ma:index="39" nillable="true" ma:taxonomy="true" ma:internalName="i67d27b5dd1e4ed29b03622e76ee750b" ma:taxonomyFieldName="Badge" ma:displayName="Badge" ma:fieldId="{267d27b5-dd1e-4ed2-9b03-622e76ee750b}" ma:taxonomyMulti="true" ma:sspId="6fbc8ed7-f359-45a5-bf77-267ed0eb5b96" ma:termSetId="7a48158d-64ca-4430-ad6d-4a8049ec2f54" ma:anchorId="00000000-0000-0000-0000-000000000000" ma:open="false" ma:isKeyword="false">
      <xsd:complexType>
        <xsd:sequence>
          <xsd:element ref="pc:Terms" minOccurs="0" maxOccurs="1"/>
        </xsd:sequence>
      </xsd:complexType>
    </xsd:element>
    <xsd:element name="_dlc_DocId" ma:index="55" nillable="true" ma:displayName="Document ID Value" ma:description="The value of the document ID assigned to this item." ma:indexed="true" ma:internalName="_dlc_DocId" ma:readOnly="true">
      <xsd:simpleType>
        <xsd:restriction base="dms:Text"/>
      </xsd:simpleType>
    </xsd:element>
    <xsd:element name="_dlc_DocIdUrl" ma:index="56"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57"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994E32D3-2E21-4611-87E1-D68FC0813440" elementFormDefault="qualified">
    <xsd:import namespace="http://schemas.microsoft.com/office/2006/documentManagement/types"/>
    <xsd:import namespace="http://schemas.microsoft.com/office/infopath/2007/PartnerControls"/>
    <xsd:element name="Geography_x0020_of_x0020_OriginTaxHTField0" ma:index="15" ma:taxonomy="true" ma:internalName="Geography_x0020_of_x0020_OriginT" ma:taxonomyFieldName="Geography_x0020_of_x0020_Origin" ma:displayName="Geography of Origin" ma:indexed="true" ma:readOnly="false" ma:default="" ma:fieldId="{7a66e3fe-fcb6-4ce2-854d-45e09459c5a7}" ma:sspId="155bb128-613e-4099-96fa-4403fd0cc87b" ma:termSetId="e4340256-abf0-49e3-8918-ff7cf781b3ee"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Local_x0020_Content_x0020_TypeTaxHTField0" ma:index="17" ma:taxonomy="true" ma:internalName="Local_x0020_Content_x0020_TypeTa" ma:taxonomyFieldName="Local_x0020_Content_x0020_Type" ma:displayName="Local Content Type" ma:indexed="true" ma:readOnly="false" ma:default="" ma:fieldId="{2366867c-77cd-4933-afd3-42beb1b807cf}" ma:sspId="155bb128-613e-4099-96fa-4403fd0cc87b" ma:termSetId="71325c3c-855f-4016-ae90-48a98c58e6a3" ma:anchorId="00000000-0000-0000-0000-000000000000" ma:open="false" ma:isKeyword="false">
      <xsd:complexType>
        <xsd:sequence>
          <xsd:element ref="pc:Terms" minOccurs="0" maxOccurs="1"/>
        </xsd:sequence>
      </xsd:complexType>
    </xsd:element>
    <xsd:element name="Global_x0020_Content_x0020_TypeTaxHTField0" ma:index="22" ma:taxonomy="true" ma:internalName="Global_x0020_Content_x0020_TypeTa" ma:taxonomyFieldName="Global_x0020_Content_x0020_Type" ma:displayName="Global Content Type" ma:indexed="true" ma:readOnly="false" ma:default="" ma:fieldId="{fcc52b76-f36e-4614-8493-5412b2f37375}" ma:sspId="155bb128-613e-4099-96fa-4403fd0cc87b" ma:termSetId="c1d74e5f-813e-428a-9d1d-e00dfcad3136"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Primary_x0020_Global_x0020_IndustTaxHTField0" ma:index="25" nillable="true" ma:taxonomy="true" ma:internalName="Primary_x0020_Global_x0020_Indust0" ma:taxonomyFieldName="Primary_x0020_Global_x0020_Indust" ma:displayName="Primary Global Industry" ma:indexed="true" ma:readOnly="false" ma:default="" ma:fieldId="{9829ff8e-6819-48cd-ae85-b2213487d9e6}"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Primary_x0020_Local_x0020_IndustTaxHTField0" ma:index="36" nillable="true" ma:taxonomy="true" ma:internalName="Primary_x0020_Local_x0020_Indust0" ma:taxonomyFieldName="Primary_x0020_Local_x0020_Indust" ma:displayName="Primary Local Industry" ma:indexed="true" ma:readOnly="false" ma:default="" ma:fieldId="{6b32ec70-79ed-4643-bd98-fe19e9037b23}"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Primary_x0020_Global_x0020_ClientTaxHTField0" ma:index="27" nillable="true" ma:taxonomy="true" ma:internalName="Primary_x0020_Global_x0020_Client0" ma:taxonomyFieldName="Primary_x0020_Global_x0020_Client" ma:displayName="Primary Global Client Service" ma:indexed="true" ma:readOnly="false" ma:default="" ma:fieldId="{6fa21800-7e1f-46b0-9b6b-749847137ef7}"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Primary_x0020_Local_x0020_ClientTaxHTField0" ma:index="48" nillable="true" ma:taxonomy="true" ma:internalName="Primary_x0020_Local_x0020_Client0" ma:taxonomyFieldName="Primary_x0020_Local_x0020_Client" ma:displayName="Primary Local Client Service" ma:indexed="true" ma:readOnly="false" ma:default="" ma:fieldId="{d67f870b-bb8f-4192-92b2-8d437da53387}"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DBE4740-AD0E-4EAB-9055-8EB1C48284D9" elementFormDefault="qualified">
    <xsd:import namespace="http://schemas.microsoft.com/office/2006/documentManagement/types"/>
    <xsd:import namespace="http://schemas.microsoft.com/office/infopath/2007/PartnerControls"/>
    <xsd:element name="IPCO_x0020_DesignationTaxHTField0" ma:index="31" nillable="true" ma:taxonomy="true" ma:internalName="IPCO_x0020_DesignationTaxHTField" ma:taxonomyFieldName="IPCO_x0020_Designation" ma:displayName="IPCO Designation" ma:fieldId="{310648f3-cc93-44e0-b643-60c4ef2fcc62}" ma:sspId="155bb128-613e-4099-96fa-4403fd0cc87b" ma:termSetId="4cc4a969-8de7-4bb8-953e-ed88518a96a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KAM_x0020_LanguageTaxHTField0" ma:index="34" ma:taxonomy="true" ma:internalName="KAM_x0020_LanguageTaxHTField0" ma:taxonomyFieldName="KAM_x0020_Language" ma:displayName="KAM Language" ma:fieldId="{03648da4-bfa7-4bd1-96dc-f553c5e5b276}"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A0186DE-B11E-4A29-9C82-428D45BCA71F" elementFormDefault="qualified">
    <xsd:import namespace="http://schemas.microsoft.com/office/2006/documentManagement/types"/>
    <xsd:import namespace="http://schemas.microsoft.com/office/infopath/2007/PartnerControls"/>
    <xsd:element name="Secondary_x0020_Global_x0020_ClieTaxHTField0" ma:index="41" nillable="true" ma:taxonomy="true" ma:internalName="Secondary_x0020_Global_x0020_Clie0" ma:taxonomyFieldName="Secondary_x0020_Global_x0020_Clie" ma:displayName="Secondary Global Client Service" ma:readOnly="false" ma:default="" ma:fieldId="{936248a3-a03a-4130-81ab-4d29e233dc55}"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Secondary_x0020_Local_x0020_ClieTaxHTField0" ma:index="52" nillable="true" ma:taxonomy="true" ma:internalName="Secondary_x0020_Local_x0020_Clie0" ma:taxonomyFieldName="Secondary_x0020_Local_x0020_Clie" ma:displayName="Secondary Local Client Service" ma:readOnly="false" ma:default="" ma:fieldId="{28eebca6-6196-4823-bbf3-f044ece0fe5d}"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6D9DE3-080E-4EC6-B7DD-508C11F603C7" elementFormDefault="qualified">
    <xsd:import namespace="http://schemas.microsoft.com/office/2006/documentManagement/types"/>
    <xsd:import namespace="http://schemas.microsoft.com/office/infopath/2007/PartnerControls"/>
    <xsd:element name="Secondary_x0020_Local_x0020_InduTaxHTField0" ma:index="43" nillable="true" ma:taxonomy="true" ma:internalName="Secondary_x0020_Local_x0020_Indu0" ma:taxonomyFieldName="Secondary_x0020_Local_x0020_Indu" ma:displayName="Secondary Local Industry" ma:readOnly="false" ma:default="" ma:fieldId="{9d641368-8359-4fe4-aecd-cff6926473b4}"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element name="Secondary_x0020_Global_x0020_InduTaxHTField0" ma:index="50" nillable="true" ma:taxonomy="true" ma:internalName="Secondary_x0020_Global_x0020_Indu0" ma:taxonomyFieldName="Secondary_x0020_Global_x0020_Indu" ma:displayName="Secondary Global Industry" ma:readOnly="false" ma:default="" ma:fieldId="{a5fbaf9d-c649-4b58-88fb-19e85bd08591}"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Applicable_x0020_GeographyTaxHTField0" ma:index="45" ma:taxonomy="true" ma:internalName="Applicable_x0020_GeographyTaxHTF" ma:taxonomyFieldName="Applicable_x0020_Geography" ma:displayName="Applicable Geography" ma:readOnly="false" ma:default="" ma:fieldId="{c7b729d8-9a17-489c-8693-58538765e77f}" ma:taxonomyMulti="true" ma:sspId="155bb128-613e-4099-96fa-4403fd0cc87b" ma:termSetId="2da3d9cd-4380-47c9-85c9-ae2863040828"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6eeb191-7a3b-4609-9f91-b8fa5fc169f0" elementFormDefault="qualified">
    <xsd:import namespace="http://schemas.microsoft.com/office/2006/documentManagement/types"/>
    <xsd:import namespace="http://schemas.microsoft.com/office/infopath/2007/PartnerControls"/>
    <xsd:element name="KAMActivityId" ma:index="72" nillable="true" ma:displayName="KAM Activity Id" ma:internalName="KAMActivityId">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Author_selected xmlns="http://schemas.microsoft.com/sharepoint/v3">
      <UserInfo>
        <DisplayName>Chen, Charley</DisplayName>
        <AccountId>18732</AccountId>
        <AccountType/>
      </UserInfo>
    </Author_selected>
    <Local_x0020_Internal_x0020_ServiceTaxHTField0 xmlns="7AF0C9C1-571A-469E-93FE-640E88AEF1EC">
      <Terms xmlns="http://schemas.microsoft.com/office/infopath/2007/PartnerControls"/>
    </Local_x0020_Internal_x0020_ServiceTaxHTField0>
    <DescriptionHTML xmlns="http://schemas.microsoft.com/sharepoint/v3" xsi:nil="true"/>
    <Global_x0020_Internal_x0020_ServiceTaxHTField0 xmlns="7AF0C9C1-571A-469E-93FE-640E88AEF1EC">
      <Terms xmlns="http://schemas.microsoft.com/office/infopath/2007/PartnerControls"/>
    </Global_x0020_Internal_x0020_ServiceTaxHTField0>
    <ContentDate xmlns="d78f0933-458e-4f0e-8f7e-f2dabe02af94">2021-11-30T00:00:00+00:00</ContentDate>
    <Loc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United States:Practice Information:Practice Materials</TermName>
          <TermId xmlns="http://schemas.microsoft.com/office/infopath/2007/PartnerControls">44f34ccc-41f9-4dae-995c-821a46a78026</TermId>
        </TermInfo>
      </Terms>
    </Local_x0020_Content_x0020_TypeTaxHTField0>
    <Client xmlns="http://schemas.microsoft.com/sharepoint/v3" xsi:nil="true"/>
    <BusinessTitle xmlns="d78f0933-458e-4f0e-8f7e-f2dabe02af94">Deloitte AI Academy: Deployment Handbook</BusinessTitle>
    <i67d27b5dd1e4ed29b03622e76ee750b xmlns="a3273937-55e7-450c-ac1f-0f7de532f690">
      <Terms xmlns="http://schemas.microsoft.com/office/infopath/2007/PartnerControls"/>
    </i67d27b5dd1e4ed29b03622e76ee750b>
    <Primary_x0020_Global_x0020_IndustTaxHTField0 xmlns="83DDB362-4C05-4E52-A8D9-EF2F47978B8D">
      <Terms xmlns="http://schemas.microsoft.com/office/infopath/2007/PartnerControls"/>
    </Primary_x0020_Global_x0020_IndustTaxHTField0>
    <ClientID xmlns="a3273937-55e7-450c-ac1f-0f7de532f690" xsi:nil="true"/>
    <IPCO_x0020_DesignationTaxHTField0 xmlns="0DBE4740-AD0E-4EAB-9055-8EB1C48284D9">
      <Terms xmlns="http://schemas.microsoft.com/office/infopath/2007/PartnerControls">
        <TermInfo xmlns="http://schemas.microsoft.com/office/infopath/2007/PartnerControls">
          <TermName xmlns="http://schemas.microsoft.com/office/infopath/2007/PartnerControls">Internal Use Only unless granted permission by content owner (IPCO Alternative Use Restriction)</TermName>
          <TermId xmlns="http://schemas.microsoft.com/office/infopath/2007/PartnerControls">f38bdcd6-352a-4923-92e5-9a710e71be95</TermId>
        </TermInfo>
      </Terms>
    </IPCO_x0020_DesignationTaxHTField0>
    <Primary_x0020_Local_x0020_IndustTaxHTField0 xmlns="83DDB362-4C05-4E52-A8D9-EF2F47978B8D">
      <Terms xmlns="http://schemas.microsoft.com/office/infopath/2007/PartnerControls"/>
    </Primary_x0020_Local_x0020_IndustTaxHTField0>
    <Author_entered xmlns="http://schemas.microsoft.com/sharepoint/v3" xsi:nil="true"/>
    <Contributor xmlns="http://schemas.microsoft.com/sharepoint/v3">
      <UserInfo>
        <DisplayName>Chen, Charley</DisplayName>
        <AccountId>18732</AccountId>
        <AccountType/>
      </UserInfo>
    </Contributor>
    <Glob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Practice Information:Practice Materials</TermName>
          <TermId xmlns="http://schemas.microsoft.com/office/infopath/2007/PartnerControls">b09d97a0-0d53-4002-bdcc-4f2df7670d20</TermId>
        </TermInfo>
      </Terms>
    </Global_x0020_Content_x0020_TypeTaxHTField0>
    <Primary_x0020_Global_x0020_ClientTaxHTField0 xmlns="7D1768DD-F29E-4DC2-9191-F2636B9FA92C">
      <Terms xmlns="http://schemas.microsoft.com/office/infopath/2007/PartnerControls">
        <TermInfo xmlns="http://schemas.microsoft.com/office/infopath/2007/PartnerControls">
          <TermName xmlns="http://schemas.microsoft.com/office/infopath/2007/PartnerControls">Cross Business Offerings:Artificial Intelligence Strategic Growth Offering (AI SGO)</TermName>
          <TermId xmlns="http://schemas.microsoft.com/office/infopath/2007/PartnerControls">ced3f0f2-d533-4f92-abff-acf7b5fb6daa</TermId>
        </TermInfo>
      </Terms>
    </Primary_x0020_Global_x0020_ClientTaxHTField0>
    <Applicable_x0020_GeographyTaxHTField0 xmlns="5A51C775-C49C-428B-8C1E-2F89178D00F4">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f12aef73-b423-4016-a43f-15722d3a0a5e</TermId>
        </TermInfo>
      </Terms>
    </Applicable_x0020_GeographyTaxHTField0>
    <KAM_x0020_Language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KAM_x0020_LanguageTaxHTField0>
    <Secondary_x0020_Local_x0020_InduTaxHTField0 xmlns="546D9DE3-080E-4EC6-B7DD-508C11F603C7">
      <Terms xmlns="http://schemas.microsoft.com/office/infopath/2007/PartnerControls"/>
    </Secondary_x0020_Local_x0020_InduTaxHTField0>
    <KAMActivityId xmlns="26eeb191-7a3b-4609-9f91-b8fa5fc169f0" xsi:nil="true"/>
    <TaxCatchAll xmlns="a3273937-55e7-450c-ac1f-0f7de532f690">
      <Value>100</Value>
      <Value>269</Value>
      <Value>132</Value>
      <Value>63</Value>
      <Value>7</Value>
      <Value>6</Value>
      <Value>4425</Value>
      <Value>38</Value>
      <Value>496</Value>
    </TaxCatchAll>
    <ClientLukup xmlns="a3273937-55e7-450c-ac1f-0f7de532f690" xsi:nil="true"/>
    <Geography_x0020_of_x0020_OriginTaxHTField0 xmlns="994E32D3-2E21-4611-87E1-D68FC0813440">
      <Terms xmlns="http://schemas.microsoft.com/office/infopath/2007/PartnerControls">
        <TermInfo xmlns="http://schemas.microsoft.com/office/infopath/2007/PartnerControls">
          <TermName xmlns="http://schemas.microsoft.com/office/infopath/2007/PartnerControls">Americas (Region):United States:United States (US)</TermName>
          <TermId xmlns="http://schemas.microsoft.com/office/infopath/2007/PartnerControls">8cb0099f-1dbf-4b3c-9b7f-d98051a79fa3</TermId>
        </TermInfo>
      </Terms>
    </Geography_x0020_of_x0020_OriginTaxHTField0>
    <Abstract xmlns="d78f0933-458e-4f0e-8f7e-f2dabe02af94">Document on AI Academy that aims to bridge the AI talent gap through bootcamp to upskill new analysts and equip them with relevant skills.</Abstract>
    <Secondary_x0020_Global_x0020_ClieTaxHTField0 xmlns="3A0186DE-B11E-4A29-9C82-428D45BCA71F">
      <Terms xmlns="http://schemas.microsoft.com/office/infopath/2007/PartnerControls"/>
    </Secondary_x0020_Global_x0020_ClieTaxHTField0>
    <Primary_x0020_Local_x0020_ClientTaxHTField0 xmlns="7D1768DD-F29E-4DC2-9191-F2636B9FA92C">
      <Terms xmlns="http://schemas.microsoft.com/office/infopath/2007/PartnerControls">
        <TermInfo xmlns="http://schemas.microsoft.com/office/infopath/2007/PartnerControls">
          <TermName xmlns="http://schemas.microsoft.com/office/infopath/2007/PartnerControls">United States:Cross Business Offerings:Artificial Intelligence Strategic Growth Offering (AI SGO)</TermName>
          <TermId xmlns="http://schemas.microsoft.com/office/infopath/2007/PartnerControls">08a71f04-bafd-4d39-b17f-645c8e0d7b5a</TermId>
        </TermInfo>
      </Terms>
    </Primary_x0020_Local_x0020_ClientTaxHTField0>
    <Secondary_x0020_Global_x0020_InduTaxHTField0 xmlns="546D9DE3-080E-4EC6-B7DD-508C11F603C7">
      <Terms xmlns="http://schemas.microsoft.com/office/infopath/2007/PartnerControls"/>
    </Secondary_x0020_Global_x0020_InduTaxHTField0>
    <Secondary_x0020_Local_x0020_ClieTaxHTField0 xmlns="3A0186DE-B11E-4A29-9C82-428D45BCA71F">
      <Terms xmlns="http://schemas.microsoft.com/office/infopath/2007/PartnerControls"/>
    </Secondary_x0020_Local_x0020_ClieTaxHTField0>
  </documentManagement>
</p:properties>
</file>

<file path=customXml/itemProps1.xml><?xml version="1.0" encoding="utf-8"?>
<ds:datastoreItem xmlns:ds="http://schemas.openxmlformats.org/officeDocument/2006/customXml" ds:itemID="{71F9AE03-C89E-4013-9B0C-7065F34F32F8}"/>
</file>

<file path=customXml/itemProps2.xml><?xml version="1.0" encoding="utf-8"?>
<ds:datastoreItem xmlns:ds="http://schemas.openxmlformats.org/officeDocument/2006/customXml" ds:itemID="{31708287-971E-4B83-8E8C-DF37C8FC3BA4}"/>
</file>

<file path=customXml/itemProps3.xml><?xml version="1.0" encoding="utf-8"?>
<ds:datastoreItem xmlns:ds="http://schemas.openxmlformats.org/officeDocument/2006/customXml" ds:itemID="{181E2259-F991-4E97-A855-A290BC83427D}"/>
</file>

<file path=customXml/itemProps4.xml><?xml version="1.0" encoding="utf-8"?>
<ds:datastoreItem xmlns:ds="http://schemas.openxmlformats.org/officeDocument/2006/customXml" ds:itemID="{B0FF483B-35F4-483A-AA51-1965F9DE300E}"/>
</file>

<file path=docProps/app.xml><?xml version="1.0" encoding="utf-8"?>
<Properties xmlns="http://schemas.openxmlformats.org/officeDocument/2006/extended-properties" xmlns:vt="http://schemas.openxmlformats.org/officeDocument/2006/docPropsVTypes">
  <Template>DD-PresentationTemplate_16x9</Template>
  <TotalTime>0</TotalTime>
  <Words>1521</Words>
  <Application>Microsoft Office PowerPoint</Application>
  <PresentationFormat>Widescreen</PresentationFormat>
  <Paragraphs>285</Paragraphs>
  <Slides>10</Slides>
  <Notes>7</Notes>
  <HiddenSlides>0</HiddenSlides>
  <MMClips>0</MMClips>
  <ScaleCrop>false</ScaleCrop>
  <HeadingPairs>
    <vt:vector size="8" baseType="variant">
      <vt:variant>
        <vt:lpstr>Fonts Used</vt:lpstr>
      </vt:variant>
      <vt:variant>
        <vt:i4>14</vt:i4>
      </vt:variant>
      <vt:variant>
        <vt:lpstr>Theme</vt:lpstr>
      </vt:variant>
      <vt:variant>
        <vt:i4>7</vt:i4>
      </vt:variant>
      <vt:variant>
        <vt:lpstr>Embedded OLE Servers</vt:lpstr>
      </vt:variant>
      <vt:variant>
        <vt:i4>1</vt:i4>
      </vt:variant>
      <vt:variant>
        <vt:lpstr>Slide Titles</vt:lpstr>
      </vt:variant>
      <vt:variant>
        <vt:i4>10</vt:i4>
      </vt:variant>
    </vt:vector>
  </HeadingPairs>
  <TitlesOfParts>
    <vt:vector size="32" baseType="lpstr">
      <vt:lpstr>Arial</vt:lpstr>
      <vt:lpstr>Calibri</vt:lpstr>
      <vt:lpstr>Calibri Light</vt:lpstr>
      <vt:lpstr>Krungthep</vt:lpstr>
      <vt:lpstr>Lato Light</vt:lpstr>
      <vt:lpstr>Open Sans</vt:lpstr>
      <vt:lpstr>Open Sans Extrabold</vt:lpstr>
      <vt:lpstr>Open Sans Light</vt:lpstr>
      <vt:lpstr>Open Sans SemiBold</vt:lpstr>
      <vt:lpstr>Open Sans SemiBold</vt:lpstr>
      <vt:lpstr>OpenSans-Light</vt:lpstr>
      <vt:lpstr>Verdana</vt:lpstr>
      <vt:lpstr>Wingdings</vt:lpstr>
      <vt:lpstr>Wingdings 2</vt:lpstr>
      <vt:lpstr>6_Deloitte_US_Onscreen</vt:lpstr>
      <vt:lpstr>1_Deloitte Brand Theme</vt:lpstr>
      <vt:lpstr>1_Office Theme</vt:lpstr>
      <vt:lpstr>DD Template Jan 2018 16x9</vt:lpstr>
      <vt:lpstr>2_Deloitte Brand Theme</vt:lpstr>
      <vt:lpstr>4_Deloitte Brand Theme</vt:lpstr>
      <vt:lpstr>Deloitte onscreen 169</vt:lpstr>
      <vt:lpstr>think-cell Slide</vt:lpstr>
      <vt:lpstr>PowerPoint Presentation</vt:lpstr>
      <vt:lpstr>Table of Contents</vt:lpstr>
      <vt:lpstr>Deloitte AI AcademyTM Overview</vt:lpstr>
      <vt:lpstr>The Graduate Profile</vt:lpstr>
      <vt:lpstr>An Intensive Curriculum</vt:lpstr>
      <vt:lpstr>Role Archetypes</vt:lpstr>
      <vt:lpstr>PowerPoint Presentation</vt:lpstr>
      <vt:lpstr>Staffing Graduates</vt:lpstr>
      <vt:lpstr>Contact U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12-20T13:09:59Z</dcterms:created>
  <dcterms:modified xsi:type="dcterms:W3CDTF">2021-12-20T13:10: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12-20T13:10:0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7580ee9f-b77d-42de-8736-38f602d25809</vt:lpwstr>
  </property>
  <property fmtid="{D5CDD505-2E9C-101B-9397-08002B2CF9AE}" pid="8" name="MSIP_Label_ea60d57e-af5b-4752-ac57-3e4f28ca11dc_ContentBits">
    <vt:lpwstr>0</vt:lpwstr>
  </property>
  <property fmtid="{D5CDD505-2E9C-101B-9397-08002B2CF9AE}" pid="9" name="ContentTypeId">
    <vt:lpwstr>0x0101002880177DFDC248C38C745E1D664A5FC5005A06F54836795E42BB2EC0DAAB3ACA6A</vt:lpwstr>
  </property>
  <property fmtid="{D5CDD505-2E9C-101B-9397-08002B2CF9AE}" pid="10" name="Local Content Type">
    <vt:lpwstr>496;#United States:Practice Information:Practice Materials|44f34ccc-41f9-4dae-995c-821a46a78026</vt:lpwstr>
  </property>
  <property fmtid="{D5CDD505-2E9C-101B-9397-08002B2CF9AE}" pid="11" name="Primary Local Client">
    <vt:lpwstr>132;#United States:Cross Business Offerings:Artificial Intelligence Strategic Growth Offering (AI SGO)|08a71f04-bafd-4d39-b17f-645c8e0d7b5a</vt:lpwstr>
  </property>
  <property fmtid="{D5CDD505-2E9C-101B-9397-08002B2CF9AE}" pid="12" name="Badge">
    <vt:lpwstr/>
  </property>
  <property fmtid="{D5CDD505-2E9C-101B-9397-08002B2CF9AE}" pid="13" name="Applicable Geography">
    <vt:lpwstr>6;#Global|f12aef73-b423-4016-a43f-15722d3a0a5e</vt:lpwstr>
  </property>
  <property fmtid="{D5CDD505-2E9C-101B-9397-08002B2CF9AE}" pid="14" name="Secondary Local Indu">
    <vt:lpwstr/>
  </property>
  <property fmtid="{D5CDD505-2E9C-101B-9397-08002B2CF9AE}" pid="15" name="Primary Local Indust">
    <vt:lpwstr/>
  </property>
  <property fmtid="{D5CDD505-2E9C-101B-9397-08002B2CF9AE}" pid="16" name="Geography of Origin">
    <vt:lpwstr>4425;#Americas (Region):United States:United States (US)|8cb0099f-1dbf-4b3c-9b7f-d98051a79fa3</vt:lpwstr>
  </property>
  <property fmtid="{D5CDD505-2E9C-101B-9397-08002B2CF9AE}" pid="17" name="KAM Language">
    <vt:lpwstr>7;#English|b169a262-1aaa-4ccb-9acf-78a36c1d9bab</vt:lpwstr>
  </property>
  <property fmtid="{D5CDD505-2E9C-101B-9397-08002B2CF9AE}" pid="18" name="Primary Global Client">
    <vt:lpwstr>100;#Cross Business Offerings:Artificial Intelligence Strategic Growth Offering (AI SGO)|ced3f0f2-d533-4f92-abff-acf7b5fb6daa</vt:lpwstr>
  </property>
  <property fmtid="{D5CDD505-2E9C-101B-9397-08002B2CF9AE}" pid="19" name="Secondary Global Indu">
    <vt:lpwstr/>
  </property>
  <property fmtid="{D5CDD505-2E9C-101B-9397-08002B2CF9AE}" pid="20" name="Secondary Global Clie">
    <vt:lpwstr/>
  </property>
  <property fmtid="{D5CDD505-2E9C-101B-9397-08002B2CF9AE}" pid="21" name="Primary Global Indust">
    <vt:lpwstr/>
  </property>
  <property fmtid="{D5CDD505-2E9C-101B-9397-08002B2CF9AE}" pid="22" name="Global Content Type">
    <vt:lpwstr>269;#Practice Information:Practice Materials|b09d97a0-0d53-4002-bdcc-4f2df7670d20</vt:lpwstr>
  </property>
  <property fmtid="{D5CDD505-2E9C-101B-9397-08002B2CF9AE}" pid="23" name="Local Internal Service">
    <vt:lpwstr/>
  </property>
  <property fmtid="{D5CDD505-2E9C-101B-9397-08002B2CF9AE}" pid="24" name="Global Internal Service">
    <vt:lpwstr/>
  </property>
  <property fmtid="{D5CDD505-2E9C-101B-9397-08002B2CF9AE}" pid="25" name="Secondary Local Clie">
    <vt:lpwstr/>
  </property>
  <property fmtid="{D5CDD505-2E9C-101B-9397-08002B2CF9AE}" pid="26" name="IPCO Designation">
    <vt:lpwstr>63;#Internal Use Only unless granted permission by content owner (IPCO Alternative Use Restriction)|f38bdcd6-352a-4923-92e5-9a710e71be95</vt:lpwstr>
  </property>
  <property fmtid="{D5CDD505-2E9C-101B-9397-08002B2CF9AE}" pid="27" name="_dlc_policyId">
    <vt:lpwstr/>
  </property>
  <property fmtid="{D5CDD505-2E9C-101B-9397-08002B2CF9AE}" pid="28" name="ItemRetentionFormula">
    <vt:lpwstr/>
  </property>
  <property fmtid="{D5CDD505-2E9C-101B-9397-08002B2CF9AE}" pid="29" name="Publishing Owning Te">
    <vt:lpwstr>38;#United States IMO|10e54d3a-ab86-422b-8751-1d0d25f43eeb</vt:lpwstr>
  </property>
  <property fmtid="{D5CDD505-2E9C-101B-9397-08002B2CF9AE}" pid="30" name="Publishing Owning Te0">
    <vt:lpwstr>United States IMO|10e54d3a-ab86-422b-8751-1d0d25f43eeb</vt:lpwstr>
  </property>
  <property fmtid="{D5CDD505-2E9C-101B-9397-08002B2CF9AE}" pid="31" name="_docset_NoMedatataSyncRequired">
    <vt:lpwstr>False</vt:lpwstr>
  </property>
</Properties>
</file>